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40" r:id="rId1"/>
    <p:sldMasterId id="2147483776" r:id="rId2"/>
    <p:sldMasterId id="2147483788" r:id="rId3"/>
    <p:sldMasterId id="2147483800" r:id="rId4"/>
  </p:sldMasterIdLst>
  <p:notesMasterIdLst>
    <p:notesMasterId r:id="rId17"/>
  </p:notesMasterIdLst>
  <p:handoutMasterIdLst>
    <p:handoutMasterId r:id="rId18"/>
  </p:handoutMasterIdLst>
  <p:sldIdLst>
    <p:sldId id="2731" r:id="rId5"/>
    <p:sldId id="2745" r:id="rId6"/>
    <p:sldId id="2756" r:id="rId7"/>
    <p:sldId id="2736" r:id="rId8"/>
    <p:sldId id="2769" r:id="rId9"/>
    <p:sldId id="2760" r:id="rId10"/>
    <p:sldId id="2763" r:id="rId11"/>
    <p:sldId id="2765" r:id="rId12"/>
    <p:sldId id="2767" r:id="rId13"/>
    <p:sldId id="2766" r:id="rId14"/>
    <p:sldId id="2768" r:id="rId15"/>
    <p:sldId id="310" r:id="rId16"/>
  </p:sldIdLst>
  <p:sldSz cx="12192000" cy="6858000"/>
  <p:notesSz cx="9926638" cy="6797675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34" userDrawn="1">
          <p15:clr>
            <a:srgbClr val="A4A3A4"/>
          </p15:clr>
        </p15:guide>
        <p15:guide id="2" pos="332" userDrawn="1">
          <p15:clr>
            <a:srgbClr val="A4A3A4"/>
          </p15:clr>
        </p15:guide>
        <p15:guide id="3" pos="7408" userDrawn="1">
          <p15:clr>
            <a:srgbClr val="A4A3A4"/>
          </p15:clr>
        </p15:guide>
        <p15:guide id="4" orient="horz" pos="411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ABD7A"/>
    <a:srgbClr val="FFFFFF"/>
    <a:srgbClr val="2E75B6"/>
    <a:srgbClr val="A31F25"/>
    <a:srgbClr val="FFAEC3"/>
    <a:srgbClr val="252CAD"/>
    <a:srgbClr val="87C683"/>
    <a:srgbClr val="29A9A7"/>
    <a:srgbClr val="FF0000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605" autoAdjust="0"/>
    <p:restoredTop sz="95488" autoAdjust="0"/>
  </p:normalViewPr>
  <p:slideViewPr>
    <p:cSldViewPr>
      <p:cViewPr>
        <p:scale>
          <a:sx n="150" d="100"/>
          <a:sy n="150" d="100"/>
        </p:scale>
        <p:origin x="108" y="-864"/>
      </p:cViewPr>
      <p:guideLst>
        <p:guide orient="horz" pos="1434"/>
        <p:guide pos="332"/>
        <p:guide pos="7408"/>
        <p:guide orient="horz" pos="411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3324"/>
    </p:cViewPr>
  </p:sorterViewPr>
  <p:notesViewPr>
    <p:cSldViewPr showGuides="1">
      <p:cViewPr varScale="1">
        <p:scale>
          <a:sx n="72" d="100"/>
          <a:sy n="72" d="100"/>
        </p:scale>
        <p:origin x="1716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2625" cy="34026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pPr>
              <a:defRPr/>
            </a:pPr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1" y="6456325"/>
            <a:ext cx="4302625" cy="340264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5621696" y="6456325"/>
            <a:ext cx="4302625" cy="340264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pPr>
              <a:defRPr/>
            </a:pPr>
            <a:fld id="{A387AE49-85CB-47A7-8250-DF92906211F2}" type="slidenum">
              <a:rPr lang="zh-CN" altLang="en-US">
                <a:ea typeface="微软雅黑" panose="020B0503020204020204" pitchFamily="34" charset="-122"/>
              </a:rPr>
              <a:pPr>
                <a:defRPr/>
              </a:pPr>
              <a:t>‹#›</a:t>
            </a:fld>
            <a:endParaRPr lang="zh-CN" altLang="en-US" dirty="0"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540766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2625" cy="34026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HK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微软雅黑" panose="020B0503020204020204" pitchFamily="34" charset="-122"/>
              </a:defRPr>
            </a:lvl1pPr>
          </a:lstStyle>
          <a:p>
            <a:pPr>
              <a:defRPr/>
            </a:pPr>
            <a:fld id="{50A776CB-60ED-4392-9A9C-8BDC0BE97CCE}" type="datetimeFigureOut">
              <a:rPr lang="zh-CN" altLang="en-US" smtClean="0"/>
              <a:pPr>
                <a:defRPr/>
              </a:pPr>
              <a:t>2022/12/20</a:t>
            </a:fld>
            <a:endParaRPr lang="zh-HK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2697163" y="511175"/>
            <a:ext cx="4532312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pPr lvl="0"/>
            <a:endParaRPr lang="zh-HK" altLang="en-US" noProof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992201" y="3228706"/>
            <a:ext cx="7942238" cy="3059117"/>
          </a:xfrm>
          <a:prstGeom prst="rect">
            <a:avLst/>
          </a:prstGeom>
        </p:spPr>
        <p:txBody>
          <a:bodyPr vert="horz" lIns="91431" tIns="45715" rIns="91431" bIns="45715" rtlCol="0">
            <a:normAutofit/>
          </a:bodyPr>
          <a:lstStyle/>
          <a:p>
            <a:pPr lvl="0"/>
            <a:r>
              <a:rPr lang="zh-HK" altLang="en-US" noProof="0"/>
              <a:t>单击此处编辑母版文本样式</a:t>
            </a:r>
          </a:p>
          <a:p>
            <a:pPr lvl="1"/>
            <a:r>
              <a:rPr lang="zh-HK" altLang="en-US" noProof="0"/>
              <a:t>第二级</a:t>
            </a:r>
          </a:p>
          <a:p>
            <a:pPr lvl="2"/>
            <a:r>
              <a:rPr lang="zh-HK" altLang="en-US" noProof="0"/>
              <a:t>第三级</a:t>
            </a:r>
          </a:p>
          <a:p>
            <a:pPr lvl="3"/>
            <a:r>
              <a:rPr lang="zh-HK" altLang="en-US" noProof="0"/>
              <a:t>第四级</a:t>
            </a:r>
          </a:p>
          <a:p>
            <a:pPr lvl="4"/>
            <a:r>
              <a:rPr lang="zh-HK" altLang="en-US" noProof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1" y="6456325"/>
            <a:ext cx="4302625" cy="340264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HK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5621696" y="6456325"/>
            <a:ext cx="4302625" cy="340264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3885BFE0-C55F-474A-A7B9-609391512B3E}" type="slidenum">
              <a:rPr lang="zh-HK" altLang="en-US"/>
              <a:pPr>
                <a:defRPr/>
              </a:pPr>
              <a:t>‹#›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3149475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>
            <a:solidFill>
              <a:srgbClr val="000000">
                <a:alpha val="100000"/>
              </a:srgbClr>
            </a:solidFill>
            <a:miter lim="800000"/>
          </a:ln>
        </p:spPr>
      </p:sp>
      <p:sp>
        <p:nvSpPr>
          <p:cNvPr id="6147" name="备注占位符 2"/>
          <p:cNvSpPr>
            <a:spLocks noGrp="1"/>
          </p:cNvSpPr>
          <p:nvPr>
            <p:ph type="body"/>
          </p:nvPr>
        </p:nvSpPr>
        <p:spPr>
          <a:noFill/>
          <a:ln>
            <a:noFill/>
          </a:ln>
        </p:spPr>
        <p:txBody>
          <a:bodyPr wrap="square" lIns="91440" tIns="45720" rIns="91440" bIns="45720" anchor="t"/>
          <a:lstStyle/>
          <a:p>
            <a:pPr lvl="0" eaLnBrk="1" hangingPunct="1"/>
            <a:endParaRPr lang="zh-CN" altLang="en-US" dirty="0"/>
          </a:p>
        </p:txBody>
      </p:sp>
      <p:sp>
        <p:nvSpPr>
          <p:cNvPr id="6148" name="灯片编号占位符 3"/>
          <p:cNvSpPr txBox="1">
            <a:spLocks noGrp="1"/>
          </p:cNvSpPr>
          <p:nvPr>
            <p:ph type="sldNum" sz="quarter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</a:ln>
        </p:spPr>
        <p:txBody>
          <a:bodyPr anchor="b"/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fld id="{9A0DB2DC-4C9A-4742-B13C-FB6460FD3503}" type="slidenum">
              <a:rPr lang="zh-HK" altLang="en-US" dirty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t>1</a:t>
            </a:fld>
            <a:endParaRPr lang="zh-HK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12862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2697163" y="511175"/>
            <a:ext cx="4532312" cy="2549525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884863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885BFE0-C55F-474A-A7B9-609391512B3E}" type="slidenum">
              <a:rPr lang="zh-HK" altLang="en-US" smtClean="0"/>
              <a:pPr>
                <a:defRPr/>
              </a:pPr>
              <a:t>4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14143887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16448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4041812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40616811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3695733" y="6492879"/>
            <a:ext cx="2844800" cy="365125"/>
          </a:xfrm>
        </p:spPr>
        <p:txBody>
          <a:bodyPr/>
          <a:lstStyle/>
          <a:p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2465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469900"/>
            <a:ext cx="10515600" cy="444500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zh-CN" altLang="en-US" noProof="1"/>
              <a:t>单击此处编辑母版标题样式</a:t>
            </a:r>
            <a:endParaRPr lang="en-US" noProof="1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rtlCol="0" anchor="ctr" anchorCtr="0" compatLnSpc="1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defRPr noProof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wrap="square" lIns="91440" tIns="45720" rIns="91440" bIns="45720" numCol="1" rtlCol="0" anchor="ctr" anchorCtr="0" compatLnSpc="1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87933" y="6496051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>
                <a:latin typeface="宋体" panose="02010600030101010101" pitchFamily="2" charset="-122"/>
              </a:defRPr>
            </a:lvl1pPr>
          </a:lstStyle>
          <a:p>
            <a:pPr>
              <a:buFont typeface="Arial" panose="020B0604020202020204" pitchFamily="34" charset="0"/>
              <a:buNone/>
              <a:defRPr/>
            </a:pPr>
            <a:fld id="{6312CF63-EDC8-439D-8129-7E5655E5190A}" type="slidenum">
              <a:rPr lang="zh-CN" altLang="en-US">
                <a:solidFill>
                  <a:srgbClr val="898989"/>
                </a:solidFill>
                <a:ea typeface="PMingLiU" pitchFamily="18" charset="-120"/>
              </a:rPr>
              <a:pPr>
                <a:buFont typeface="Arial" panose="020B0604020202020204" pitchFamily="34" charset="0"/>
                <a:buNone/>
                <a:defRPr/>
              </a:pPr>
              <a:t>‹#›</a:t>
            </a:fld>
            <a:endParaRPr lang="zh-CN" altLang="en-US">
              <a:solidFill>
                <a:srgbClr val="898989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4803666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37467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562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7917884-FFF4-40C9-9636-CED64F3CA77E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2/12/20</a:t>
            </a:fld>
            <a:endParaRPr lang="zh-HK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HK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A86CFC8-0498-4BE0-9299-D660A2F2E4F8}" type="slidenum">
              <a:rPr lang="zh-HK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HK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797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36977505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18241091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34037865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7917884-FFF4-40C9-9636-CED64F3CA77E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2/12/20</a:t>
            </a:fld>
            <a:endParaRPr lang="zh-HK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HK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A86CFC8-0498-4BE0-9299-D660A2F2E4F8}" type="slidenum">
              <a:rPr lang="zh-HK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HK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Box 5"/>
          <p:cNvSpPr txBox="1">
            <a:spLocks noChangeArrowheads="1"/>
          </p:cNvSpPr>
          <p:nvPr userDrawn="1"/>
        </p:nvSpPr>
        <p:spPr bwMode="auto">
          <a:xfrm>
            <a:off x="331375" y="127077"/>
            <a:ext cx="7776542" cy="3895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  <a:defRPr/>
            </a:pPr>
            <a:endParaRPr lang="zh-CN" altLang="en-US" sz="2000" b="1" dirty="0">
              <a:solidFill>
                <a:srgbClr val="C00000"/>
              </a:solidFill>
              <a:latin typeface="幼圆" panose="02010509060101010101" pitchFamily="49" charset="-122"/>
              <a:ea typeface="幼圆" panose="020105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405600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2741285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41981519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25373045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24955783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35906260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36290300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3695733" y="6492879"/>
            <a:ext cx="2844800" cy="365125"/>
          </a:xfrm>
        </p:spPr>
        <p:txBody>
          <a:bodyPr/>
          <a:lstStyle/>
          <a:p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6053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469900"/>
            <a:ext cx="10515600" cy="444500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zh-CN" altLang="en-US" noProof="1"/>
              <a:t>单击此处编辑母版标题样式</a:t>
            </a:r>
            <a:endParaRPr lang="en-US" noProof="1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rtlCol="0" anchor="ctr" anchorCtr="0" compatLnSpc="1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defRPr noProof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wrap="square" lIns="91440" tIns="45720" rIns="91440" bIns="45720" numCol="1" rtlCol="0" anchor="ctr" anchorCtr="0" compatLnSpc="1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87933" y="6496051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>
                <a:latin typeface="宋体" panose="02010600030101010101" pitchFamily="2" charset="-122"/>
              </a:defRPr>
            </a:lvl1pPr>
          </a:lstStyle>
          <a:p>
            <a:pPr>
              <a:buFont typeface="Arial" panose="020B0604020202020204" pitchFamily="34" charset="0"/>
              <a:buNone/>
              <a:defRPr/>
            </a:pPr>
            <a:fld id="{6312CF63-EDC8-439D-8129-7E5655E5190A}" type="slidenum">
              <a:rPr lang="zh-CN" altLang="en-US">
                <a:solidFill>
                  <a:srgbClr val="898989"/>
                </a:solidFill>
                <a:ea typeface="PMingLiU" pitchFamily="18" charset="-120"/>
              </a:rPr>
              <a:pPr>
                <a:buFont typeface="Arial" panose="020B0604020202020204" pitchFamily="34" charset="0"/>
                <a:buNone/>
                <a:defRPr/>
              </a:pPr>
              <a:t>‹#›</a:t>
            </a:fld>
            <a:endParaRPr lang="zh-CN" altLang="en-US">
              <a:solidFill>
                <a:srgbClr val="898989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0037554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97579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6456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42309062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7917884-FFF4-40C9-9636-CED64F3CA77E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2/12/20</a:t>
            </a:fld>
            <a:endParaRPr lang="zh-HK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HK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A86CFC8-0498-4BE0-9299-D660A2F2E4F8}" type="slidenum">
              <a:rPr lang="zh-HK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HK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81061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55290055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27098340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16895750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1472253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296559632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27408449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393326119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21669877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42049770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424377089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3695733" y="6492879"/>
            <a:ext cx="2844800" cy="365125"/>
          </a:xfrm>
        </p:spPr>
        <p:txBody>
          <a:bodyPr/>
          <a:lstStyle/>
          <a:p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36099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469900"/>
            <a:ext cx="10515600" cy="444500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zh-CN" altLang="en-US" noProof="1"/>
              <a:t>单击此处编辑母版标题样式</a:t>
            </a:r>
            <a:endParaRPr lang="en-US" noProof="1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rtlCol="0" anchor="ctr" anchorCtr="0" compatLnSpc="1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defRPr noProof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wrap="square" lIns="91440" tIns="45720" rIns="91440" bIns="45720" numCol="1" rtlCol="0" anchor="ctr" anchorCtr="0" compatLnSpc="1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87933" y="6496051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>
                <a:latin typeface="宋体" panose="02010600030101010101" pitchFamily="2" charset="-122"/>
              </a:defRPr>
            </a:lvl1pPr>
          </a:lstStyle>
          <a:p>
            <a:pPr>
              <a:buFont typeface="Arial" panose="020B0604020202020204" pitchFamily="34" charset="0"/>
              <a:buNone/>
              <a:defRPr/>
            </a:pPr>
            <a:fld id="{6312CF63-EDC8-439D-8129-7E5655E5190A}" type="slidenum">
              <a:rPr lang="zh-CN" altLang="en-US">
                <a:solidFill>
                  <a:srgbClr val="898989"/>
                </a:solidFill>
                <a:ea typeface="PMingLiU" pitchFamily="18" charset="-120"/>
              </a:rPr>
              <a:pPr>
                <a:buFont typeface="Arial" panose="020B0604020202020204" pitchFamily="34" charset="0"/>
                <a:buNone/>
                <a:defRPr/>
              </a:pPr>
              <a:t>‹#›</a:t>
            </a:fld>
            <a:endParaRPr lang="zh-CN" altLang="en-US">
              <a:solidFill>
                <a:srgbClr val="898989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5734411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93465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21889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7917884-FFF4-40C9-9636-CED64F3CA77E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2/12/20</a:t>
            </a:fld>
            <a:endParaRPr lang="zh-HK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HK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A86CFC8-0498-4BE0-9299-D660A2F2E4F8}" type="slidenum">
              <a:rPr lang="zh-HK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HK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125498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374960669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248774212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333873546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109486821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39879757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90400240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343226011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28056162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40676341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27230638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3695733" y="6492879"/>
            <a:ext cx="2844800" cy="365125"/>
          </a:xfrm>
        </p:spPr>
        <p:txBody>
          <a:bodyPr/>
          <a:lstStyle/>
          <a:p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9830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469900"/>
            <a:ext cx="10515600" cy="444500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zh-CN" altLang="en-US" noProof="1"/>
              <a:t>单击此处编辑母版标题样式</a:t>
            </a:r>
            <a:endParaRPr lang="en-US" noProof="1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rtlCol="0" anchor="ctr" anchorCtr="0" compatLnSpc="1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defRPr noProof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wrap="square" lIns="91440" tIns="45720" rIns="91440" bIns="45720" numCol="1" rtlCol="0" anchor="ctr" anchorCtr="0" compatLnSpc="1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87933" y="6496051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>
                <a:latin typeface="宋体" panose="02010600030101010101" pitchFamily="2" charset="-122"/>
              </a:defRPr>
            </a:lvl1pPr>
          </a:lstStyle>
          <a:p>
            <a:pPr>
              <a:buFont typeface="Arial" panose="020B0604020202020204" pitchFamily="34" charset="0"/>
              <a:buNone/>
              <a:defRPr/>
            </a:pPr>
            <a:fld id="{6312CF63-EDC8-439D-8129-7E5655E5190A}" type="slidenum">
              <a:rPr lang="zh-CN" altLang="en-US">
                <a:solidFill>
                  <a:srgbClr val="898989"/>
                </a:solidFill>
                <a:ea typeface="PMingLiU" pitchFamily="18" charset="-120"/>
              </a:rPr>
              <a:pPr>
                <a:buFont typeface="Arial" panose="020B0604020202020204" pitchFamily="34" charset="0"/>
                <a:buNone/>
                <a:defRPr/>
              </a:pPr>
              <a:t>‹#›</a:t>
            </a:fld>
            <a:endParaRPr lang="zh-CN" altLang="en-US">
              <a:solidFill>
                <a:srgbClr val="898989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8178114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771486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</a:t>
            </a:r>
          </a:p>
        </p:txBody>
      </p:sp>
      <p:sp>
        <p:nvSpPr>
          <p:cNvPr id="3" name="Text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6525B2-4347-4F72-BAF7-76B19438D329}" type="datetimeFigureOut">
              <a:rPr lang="en-US" smtClean="0"/>
              <a:t>12/20/2022</a:t>
            </a:fld>
            <a:endParaRPr lang="en-US"/>
          </a:p>
        </p:txBody>
      </p:sp>
      <p:sp>
        <p:nvSpPr>
          <p:cNvPr id="5" name="Foo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073CC-40D5-4B23-8DF0-9BD0A0C12F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378822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5368289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253223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12952198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</p:spTree>
    <p:extLst>
      <p:ext uri="{BB962C8B-B14F-4D97-AF65-F5344CB8AC3E}">
        <p14:creationId xmlns:p14="http://schemas.microsoft.com/office/powerpoint/2010/main" val="13101551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44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4578FA7-C8EE-F741-9DFA-D7F40E63E14B}"/>
              </a:ext>
            </a:extLst>
          </p:cNvPr>
          <p:cNvSpPr/>
          <p:nvPr userDrawn="1"/>
        </p:nvSpPr>
        <p:spPr>
          <a:xfrm>
            <a:off x="431371" y="136522"/>
            <a:ext cx="3648405" cy="41215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892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681" r:id="rId12"/>
    <p:sldLayoutId id="2147483683" r:id="rId13"/>
    <p:sldLayoutId id="214748368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4578FA7-C8EE-F741-9DFA-D7F40E63E14B}"/>
              </a:ext>
            </a:extLst>
          </p:cNvPr>
          <p:cNvSpPr/>
          <p:nvPr userDrawn="1"/>
        </p:nvSpPr>
        <p:spPr>
          <a:xfrm>
            <a:off x="431371" y="136522"/>
            <a:ext cx="3648405" cy="41215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6876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699" r:id="rId12"/>
    <p:sldLayoutId id="2147483701" r:id="rId13"/>
    <p:sldLayoutId id="214748370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4578FA7-C8EE-F741-9DFA-D7F40E63E14B}"/>
              </a:ext>
            </a:extLst>
          </p:cNvPr>
          <p:cNvSpPr/>
          <p:nvPr userDrawn="1"/>
        </p:nvSpPr>
        <p:spPr>
          <a:xfrm>
            <a:off x="431371" y="136522"/>
            <a:ext cx="3648405" cy="41215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729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705" r:id="rId12"/>
    <p:sldLayoutId id="2147483707" r:id="rId13"/>
    <p:sldLayoutId id="2147483708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1036FDF-ED11-40C5-8905-D6474F71AE9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2/20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4B5A512-63FA-4484-89AF-95B715C61DEB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幼圆"/>
                <a:ea typeface="幼圆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幼圆"/>
              <a:ea typeface="幼圆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4578FA7-C8EE-F741-9DFA-D7F40E63E14B}"/>
              </a:ext>
            </a:extLst>
          </p:cNvPr>
          <p:cNvSpPr/>
          <p:nvPr userDrawn="1"/>
        </p:nvSpPr>
        <p:spPr>
          <a:xfrm>
            <a:off x="431371" y="136522"/>
            <a:ext cx="3648405" cy="41215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978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711" r:id="rId12"/>
    <p:sldLayoutId id="2147483713" r:id="rId13"/>
    <p:sldLayoutId id="2147483714" r:id="rId14"/>
    <p:sldLayoutId id="2147483836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GIF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8.png"/><Relationship Id="rId7" Type="http://schemas.openxmlformats.org/officeDocument/2006/relationships/image" Target="../media/image12.jpeg"/><Relationship Id="rId12" Type="http://schemas.openxmlformats.org/officeDocument/2006/relationships/image" Target="../media/image17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1.jpeg"/><Relationship Id="rId11" Type="http://schemas.openxmlformats.org/officeDocument/2006/relationships/image" Target="../media/image16.png"/><Relationship Id="rId5" Type="http://schemas.openxmlformats.org/officeDocument/2006/relationships/image" Target="../media/image10.jpe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4.jpe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10" Type="http://schemas.openxmlformats.org/officeDocument/2006/relationships/image" Target="../media/image24.jpeg"/><Relationship Id="rId4" Type="http://schemas.openxmlformats.org/officeDocument/2006/relationships/image" Target="../media/image18.png"/><Relationship Id="rId9" Type="http://schemas.openxmlformats.org/officeDocument/2006/relationships/image" Target="../media/image2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32.png"/><Relationship Id="rId4" Type="http://schemas.openxmlformats.org/officeDocument/2006/relationships/image" Target="../media/image6.GI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1">
            <a:extLst>
              <a:ext uri="{FF2B5EF4-FFF2-40B4-BE49-F238E27FC236}">
                <a16:creationId xmlns:a16="http://schemas.microsoft.com/office/drawing/2014/main" id="{92B3FF14-FEF1-E6C3-478B-AB29A1A19E48}"/>
              </a:ext>
            </a:extLst>
          </p:cNvPr>
          <p:cNvSpPr/>
          <p:nvPr/>
        </p:nvSpPr>
        <p:spPr>
          <a:xfrm>
            <a:off x="0" y="-315416"/>
            <a:ext cx="12455352" cy="7198528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5122" name="矩形 4"/>
          <p:cNvSpPr/>
          <p:nvPr/>
        </p:nvSpPr>
        <p:spPr>
          <a:xfrm>
            <a:off x="1415480" y="1196752"/>
            <a:ext cx="9433048" cy="4643707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indent="0" algn="ctr" eaLnBrk="1" hangingPunct="1">
              <a:lnSpc>
                <a:spcPct val="150000"/>
              </a:lnSpc>
              <a:spcBef>
                <a:spcPct val="0"/>
              </a:spcBef>
              <a:buNone/>
              <a:defRPr/>
            </a:pPr>
            <a:r>
              <a:rPr lang="zh-CN" altLang="en-US" sz="4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海南万宁杨梅国际度假酒店公寓（产权式）</a:t>
            </a:r>
            <a:endParaRPr lang="en-US" altLang="zh-CN" sz="40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algn="ctr" eaLnBrk="1" hangingPunct="1">
              <a:lnSpc>
                <a:spcPct val="150000"/>
              </a:lnSpc>
              <a:spcBef>
                <a:spcPct val="0"/>
              </a:spcBef>
              <a:buNone/>
              <a:defRPr/>
            </a:pPr>
            <a:endParaRPr lang="en-US" altLang="zh-CN" sz="40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algn="ctr" eaLnBrk="1" hangingPunct="1">
              <a:lnSpc>
                <a:spcPct val="150000"/>
              </a:lnSpc>
              <a:spcBef>
                <a:spcPct val="0"/>
              </a:spcBef>
              <a:buNone/>
              <a:defRPr/>
            </a:pPr>
            <a:r>
              <a:rPr lang="zh-CN" altLang="en-US" sz="4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简报</a:t>
            </a:r>
            <a:endParaRPr lang="en-US" altLang="zh-CN" sz="28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algn="ctr" eaLnBrk="1" hangingPunct="1">
              <a:lnSpc>
                <a:spcPct val="150000"/>
              </a:lnSpc>
              <a:spcBef>
                <a:spcPct val="0"/>
              </a:spcBef>
              <a:buNone/>
              <a:defRPr/>
            </a:pPr>
            <a:endParaRPr lang="en-US" altLang="zh-CN" sz="28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algn="ctr" eaLnBrk="1" hangingPunct="1">
              <a:lnSpc>
                <a:spcPct val="150000"/>
              </a:lnSpc>
              <a:spcBef>
                <a:spcPct val="0"/>
              </a:spcBef>
              <a:buNone/>
              <a:defRPr/>
            </a:pPr>
            <a:endParaRPr lang="en-US" altLang="zh-CN" sz="28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algn="ctr" eaLnBrk="1" hangingPunct="1">
              <a:lnSpc>
                <a:spcPct val="150000"/>
              </a:lnSpc>
              <a:spcBef>
                <a:spcPct val="0"/>
              </a:spcBef>
              <a:buNone/>
              <a:defRPr/>
            </a:pPr>
            <a:r>
              <a:rPr lang="en-US" altLang="zh-CN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2/12/19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54705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1">
            <a:extLst>
              <a:ext uri="{FF2B5EF4-FFF2-40B4-BE49-F238E27FC236}">
                <a16:creationId xmlns:a16="http://schemas.microsoft.com/office/drawing/2014/main" id="{D558C746-8070-91D2-7FD5-3FE693C2F1F0}"/>
              </a:ext>
            </a:extLst>
          </p:cNvPr>
          <p:cNvSpPr/>
          <p:nvPr/>
        </p:nvSpPr>
        <p:spPr>
          <a:xfrm>
            <a:off x="0" y="-23798"/>
            <a:ext cx="12537066" cy="6857999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4" name="矩形 3"/>
          <p:cNvSpPr/>
          <p:nvPr>
            <p:custDataLst>
              <p:tags r:id="rId1"/>
            </p:custDataLst>
          </p:nvPr>
        </p:nvSpPr>
        <p:spPr>
          <a:xfrm>
            <a:off x="911424" y="3941254"/>
            <a:ext cx="11389848" cy="222477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b="1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一、土地成本：</a:t>
            </a: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按</a:t>
            </a:r>
            <a:r>
              <a:rPr lang="en-US" altLang="zh-CN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150</a:t>
            </a: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万</a:t>
            </a:r>
            <a:r>
              <a:rPr lang="en-US" altLang="zh-CN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/</a:t>
            </a: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亩，总土地款为</a:t>
            </a:r>
            <a:r>
              <a:rPr lang="en-US" altLang="zh-CN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4.25</a:t>
            </a: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亿元。</a:t>
            </a:r>
            <a:endParaRPr lang="en-US" altLang="zh-CN" b="1" kern="0" dirty="0">
              <a:latin typeface="微软雅黑" panose="020B0503020204020204" pitchFamily="34" charset="-122"/>
              <a:ea typeface="微软雅黑" panose="020B0503020204020204" pitchFamily="34" charset="-122"/>
              <a:cs typeface="宋体"/>
            </a:endParaRPr>
          </a:p>
          <a:p>
            <a:pPr>
              <a:lnSpc>
                <a:spcPct val="200000"/>
              </a:lnSpc>
            </a:pPr>
            <a:r>
              <a:rPr lang="zh-CN" altLang="en-US" b="1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二、建安成本</a:t>
            </a: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：按建筑面积</a:t>
            </a:r>
            <a:r>
              <a:rPr lang="en-US" altLang="zh-CN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4000</a:t>
            </a: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元</a:t>
            </a:r>
            <a:r>
              <a:rPr lang="en-US" altLang="zh-CN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/</a:t>
            </a: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㎡，总工程成本约</a:t>
            </a:r>
            <a:r>
              <a:rPr lang="en-US" altLang="zh-CN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6.0</a:t>
            </a: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亿元。</a:t>
            </a:r>
            <a:endParaRPr lang="en-US" altLang="zh-CN" b="1" kern="0" dirty="0">
              <a:latin typeface="微软雅黑" panose="020B0503020204020204" pitchFamily="34" charset="-122"/>
              <a:ea typeface="微软雅黑" panose="020B0503020204020204" pitchFamily="34" charset="-122"/>
              <a:cs typeface="宋体"/>
            </a:endParaRPr>
          </a:p>
          <a:p>
            <a:pPr>
              <a:lnSpc>
                <a:spcPct val="200000"/>
              </a:lnSpc>
            </a:pPr>
            <a:r>
              <a:rPr lang="zh-CN" altLang="en-US" b="1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三、销售价格：</a:t>
            </a: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洋房均价</a:t>
            </a:r>
            <a:r>
              <a:rPr lang="en-US" altLang="zh-CN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20000</a:t>
            </a: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元</a:t>
            </a:r>
            <a:r>
              <a:rPr lang="en-US" altLang="zh-CN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/</a:t>
            </a: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㎡，车位</a:t>
            </a:r>
            <a:r>
              <a:rPr lang="en-US" altLang="zh-CN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10</a:t>
            </a: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万</a:t>
            </a:r>
            <a:r>
              <a:rPr lang="en-US" altLang="zh-CN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/</a:t>
            </a: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个，整盘货值</a:t>
            </a:r>
            <a:r>
              <a:rPr lang="en-US" altLang="zh-CN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23</a:t>
            </a: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亿元。</a:t>
            </a:r>
            <a:endParaRPr lang="en-US" altLang="zh-CN" b="1" kern="0" dirty="0">
              <a:latin typeface="微软雅黑" panose="020B0503020204020204" pitchFamily="34" charset="-122"/>
              <a:ea typeface="微软雅黑" panose="020B0503020204020204" pitchFamily="34" charset="-122"/>
              <a:cs typeface="宋体"/>
            </a:endParaRPr>
          </a:p>
          <a:p>
            <a:pPr>
              <a:lnSpc>
                <a:spcPct val="200000"/>
              </a:lnSpc>
            </a:pPr>
            <a:r>
              <a:rPr lang="zh-CN" altLang="en-US" b="1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四、测算结果：</a:t>
            </a: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项目净利润为</a:t>
            </a:r>
            <a:r>
              <a:rPr lang="en-US" altLang="zh-CN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4.5</a:t>
            </a: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亿元，净利润率</a:t>
            </a:r>
            <a:r>
              <a:rPr lang="en-US" altLang="zh-CN" b="1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21.4%</a:t>
            </a:r>
            <a:r>
              <a:rPr lang="zh-CN" altLang="en-US" b="1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。</a:t>
            </a:r>
            <a:endParaRPr lang="en-US" altLang="zh-CN" b="1" kern="0" dirty="0">
              <a:latin typeface="微软雅黑" panose="020B0503020204020204" pitchFamily="34" charset="-122"/>
              <a:ea typeface="微软雅黑" panose="020B0503020204020204" pitchFamily="34" charset="-122"/>
              <a:cs typeface="宋体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63352" y="602665"/>
            <a:ext cx="7776542" cy="40729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静态测算</a:t>
            </a:r>
            <a:endParaRPr lang="zh-CN" altLang="en-US" sz="2000" b="1" dirty="0">
              <a:solidFill>
                <a:srgbClr val="C00000"/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5030611"/>
              </p:ext>
            </p:extLst>
          </p:nvPr>
        </p:nvGraphicFramePr>
        <p:xfrm>
          <a:off x="911424" y="1157692"/>
          <a:ext cx="10585177" cy="26313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508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604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738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998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产品类型</a:t>
                      </a:r>
                      <a:endParaRPr lang="zh-CN" altLang="en-US" sz="1800" b="1" i="0" u="none" strike="noStrike" dirty="0">
                        <a:solidFill>
                          <a:srgbClr val="FFFFFF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建筑面积（㎡）</a:t>
                      </a:r>
                      <a:endParaRPr lang="zh-CN" altLang="en-US" sz="1800" b="1" i="0" u="none" strike="noStrike" dirty="0">
                        <a:solidFill>
                          <a:srgbClr val="FFFFFF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入市价</a:t>
                      </a:r>
                      <a:endParaRPr lang="zh-CN" altLang="en-US" sz="1800" b="1" i="0" u="none" strike="noStrike" dirty="0">
                        <a:solidFill>
                          <a:srgbClr val="FFFFFF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98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（元</a:t>
                      </a:r>
                      <a:r>
                        <a:rPr lang="en-US" altLang="zh-CN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/㎡</a:t>
                      </a:r>
                      <a:r>
                        <a:rPr lang="zh-CN" altLang="en-US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，元</a:t>
                      </a:r>
                      <a:r>
                        <a:rPr lang="en-US" altLang="zh-CN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/</a:t>
                      </a:r>
                      <a:r>
                        <a:rPr lang="zh-CN" altLang="en-US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个）</a:t>
                      </a:r>
                      <a:endParaRPr lang="zh-CN" altLang="en-US" sz="1800" b="1" i="0" u="none" strike="noStrike" dirty="0">
                        <a:solidFill>
                          <a:srgbClr val="FFFFFF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1465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产权式酒店</a:t>
                      </a:r>
                      <a:endParaRPr lang="zh-CN" alt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b="1" u="none" strike="noStrike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112438</a:t>
                      </a:r>
                      <a:endParaRPr lang="en-US" altLang="zh-CN" sz="1800" b="1" i="0" u="none" strike="noStrike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20000</a:t>
                      </a:r>
                      <a:endParaRPr lang="en-US" altLang="zh-CN" sz="18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9985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车位（元</a:t>
                      </a:r>
                      <a:r>
                        <a:rPr lang="en-US" altLang="zh-CN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/</a:t>
                      </a:r>
                      <a:r>
                        <a:rPr lang="zh-CN" altLang="en-US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个）</a:t>
                      </a:r>
                      <a:endParaRPr lang="zh-CN" alt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b="1" u="none" strike="noStrike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645</a:t>
                      </a:r>
                      <a:endParaRPr lang="en-US" altLang="zh-CN" sz="1800" b="1" i="0" u="none" strike="noStrike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100000</a:t>
                      </a:r>
                      <a:endParaRPr lang="en-US" altLang="zh-CN" sz="18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9985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总货值（亿元）</a:t>
                      </a:r>
                      <a:endParaRPr lang="zh-CN" alt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23.1</a:t>
                      </a:r>
                      <a:endParaRPr lang="en-US" altLang="zh-CN" sz="18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9985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整盘均价（元</a:t>
                      </a:r>
                      <a:r>
                        <a:rPr lang="en-US" altLang="zh-CN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/㎡</a:t>
                      </a:r>
                      <a:r>
                        <a:rPr lang="zh-CN" altLang="en-US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）</a:t>
                      </a:r>
                      <a:endParaRPr lang="zh-CN" alt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20574</a:t>
                      </a:r>
                      <a:endParaRPr lang="en-US" altLang="zh-CN" sz="18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9985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楼面地价（元</a:t>
                      </a:r>
                      <a:r>
                        <a:rPr lang="en-US" altLang="zh-CN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/㎡</a:t>
                      </a:r>
                      <a:r>
                        <a:rPr lang="zh-CN" altLang="en-US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）</a:t>
                      </a:r>
                      <a:endParaRPr lang="zh-CN" alt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3750</a:t>
                      </a:r>
                      <a:endParaRPr lang="en-US" altLang="zh-CN" sz="18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9985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800" b="1" u="none" strike="noStrike" dirty="0">
                          <a:solidFill>
                            <a:srgbClr val="FF0000"/>
                          </a:solidFill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项目净利润（亿元）</a:t>
                      </a:r>
                      <a:endParaRPr lang="zh-CN" alt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b="1" u="none" strike="noStrike" dirty="0">
                          <a:solidFill>
                            <a:srgbClr val="FF0000"/>
                          </a:solidFill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4.5</a:t>
                      </a:r>
                      <a:endParaRPr lang="en-US" altLang="zh-CN" sz="1800" b="1" i="0" u="none" strike="noStrike" dirty="0">
                        <a:solidFill>
                          <a:srgbClr val="FF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9985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800" b="1" u="none" strike="noStrike" dirty="0">
                          <a:solidFill>
                            <a:srgbClr val="FF0000"/>
                          </a:solidFill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项目销售净利率</a:t>
                      </a:r>
                      <a:endParaRPr lang="zh-CN" alt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b="1" u="none" strike="noStrike" dirty="0">
                          <a:solidFill>
                            <a:srgbClr val="FF0000"/>
                          </a:solidFill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21.4%</a:t>
                      </a:r>
                      <a:endParaRPr lang="en-US" altLang="zh-CN" sz="1800" b="1" i="0" u="none" strike="noStrike" dirty="0">
                        <a:solidFill>
                          <a:srgbClr val="FF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6330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1">
            <a:extLst>
              <a:ext uri="{FF2B5EF4-FFF2-40B4-BE49-F238E27FC236}">
                <a16:creationId xmlns:a16="http://schemas.microsoft.com/office/drawing/2014/main" id="{D558C746-8070-91D2-7FD5-3FE693C2F1F0}"/>
              </a:ext>
            </a:extLst>
          </p:cNvPr>
          <p:cNvSpPr/>
          <p:nvPr/>
        </p:nvSpPr>
        <p:spPr>
          <a:xfrm>
            <a:off x="0" y="-23798"/>
            <a:ext cx="12537066" cy="6857999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4" name="矩形 3"/>
          <p:cNvSpPr/>
          <p:nvPr>
            <p:custDataLst>
              <p:tags r:id="rId1"/>
            </p:custDataLst>
          </p:nvPr>
        </p:nvSpPr>
        <p:spPr>
          <a:xfrm>
            <a:off x="8460269" y="1254563"/>
            <a:ext cx="3709672" cy="104009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800" b="1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一、土地成本：</a:t>
            </a:r>
            <a:r>
              <a:rPr lang="zh-CN" altLang="en-US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按</a:t>
            </a:r>
            <a:r>
              <a:rPr lang="en-US" altLang="zh-CN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150</a:t>
            </a:r>
            <a:r>
              <a:rPr lang="zh-CN" altLang="en-US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万</a:t>
            </a:r>
            <a:r>
              <a:rPr lang="en-US" altLang="zh-CN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/</a:t>
            </a:r>
            <a:r>
              <a:rPr lang="zh-CN" altLang="en-US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亩，总土地款为</a:t>
            </a:r>
            <a:r>
              <a:rPr lang="en-US" altLang="zh-CN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4.25</a:t>
            </a:r>
            <a:r>
              <a:rPr lang="zh-CN" altLang="en-US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亿元。</a:t>
            </a:r>
            <a:endParaRPr lang="en-US" altLang="zh-CN" sz="800" b="1" kern="0" dirty="0">
              <a:latin typeface="微软雅黑" panose="020B0503020204020204" pitchFamily="34" charset="-122"/>
              <a:ea typeface="微软雅黑" panose="020B0503020204020204" pitchFamily="34" charset="-122"/>
              <a:cs typeface="宋体"/>
            </a:endParaRPr>
          </a:p>
          <a:p>
            <a:pPr>
              <a:lnSpc>
                <a:spcPct val="200000"/>
              </a:lnSpc>
            </a:pPr>
            <a:r>
              <a:rPr lang="zh-CN" altLang="en-US" sz="800" b="1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二、建安成本</a:t>
            </a:r>
            <a:r>
              <a:rPr lang="zh-CN" altLang="en-US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：按建筑面积</a:t>
            </a:r>
            <a:r>
              <a:rPr lang="en-US" altLang="zh-CN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4000</a:t>
            </a:r>
            <a:r>
              <a:rPr lang="zh-CN" altLang="en-US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元</a:t>
            </a:r>
            <a:r>
              <a:rPr lang="en-US" altLang="zh-CN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/</a:t>
            </a:r>
            <a:r>
              <a:rPr lang="zh-CN" altLang="en-US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㎡，总工程成本约</a:t>
            </a:r>
            <a:r>
              <a:rPr lang="en-US" altLang="zh-CN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6.0</a:t>
            </a:r>
            <a:r>
              <a:rPr lang="zh-CN" altLang="en-US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亿元。</a:t>
            </a:r>
            <a:endParaRPr lang="en-US" altLang="zh-CN" sz="800" b="1" kern="0" dirty="0">
              <a:latin typeface="微软雅黑" panose="020B0503020204020204" pitchFamily="34" charset="-122"/>
              <a:ea typeface="微软雅黑" panose="020B0503020204020204" pitchFamily="34" charset="-122"/>
              <a:cs typeface="宋体"/>
            </a:endParaRPr>
          </a:p>
          <a:p>
            <a:pPr>
              <a:lnSpc>
                <a:spcPct val="200000"/>
              </a:lnSpc>
            </a:pPr>
            <a:r>
              <a:rPr lang="zh-CN" altLang="en-US" sz="800" b="1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三、销售价格：</a:t>
            </a:r>
            <a:r>
              <a:rPr lang="zh-CN" altLang="en-US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洋房均价</a:t>
            </a:r>
            <a:r>
              <a:rPr lang="en-US" altLang="zh-CN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20000</a:t>
            </a:r>
            <a:r>
              <a:rPr lang="zh-CN" altLang="en-US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元</a:t>
            </a:r>
            <a:r>
              <a:rPr lang="en-US" altLang="zh-CN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/</a:t>
            </a:r>
            <a:r>
              <a:rPr lang="zh-CN" altLang="en-US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㎡，车位</a:t>
            </a:r>
            <a:r>
              <a:rPr lang="en-US" altLang="zh-CN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10</a:t>
            </a:r>
            <a:r>
              <a:rPr lang="zh-CN" altLang="en-US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万</a:t>
            </a:r>
            <a:r>
              <a:rPr lang="en-US" altLang="zh-CN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/</a:t>
            </a:r>
            <a:r>
              <a:rPr lang="zh-CN" altLang="en-US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个，整盘货值</a:t>
            </a:r>
            <a:r>
              <a:rPr lang="en-US" altLang="zh-CN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23</a:t>
            </a:r>
            <a:r>
              <a:rPr lang="zh-CN" altLang="en-US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亿元。</a:t>
            </a:r>
            <a:endParaRPr lang="en-US" altLang="zh-CN" sz="800" b="1" kern="0" dirty="0">
              <a:latin typeface="微软雅黑" panose="020B0503020204020204" pitchFamily="34" charset="-122"/>
              <a:ea typeface="微软雅黑" panose="020B0503020204020204" pitchFamily="34" charset="-122"/>
              <a:cs typeface="宋体"/>
            </a:endParaRPr>
          </a:p>
          <a:p>
            <a:pPr>
              <a:lnSpc>
                <a:spcPct val="200000"/>
              </a:lnSpc>
            </a:pPr>
            <a:r>
              <a:rPr lang="zh-CN" altLang="en-US" sz="800" b="1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四、测算结果：</a:t>
            </a:r>
            <a:r>
              <a:rPr lang="zh-CN" altLang="en-US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项目净利润为</a:t>
            </a:r>
            <a:r>
              <a:rPr lang="en-US" altLang="zh-CN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4.5</a:t>
            </a:r>
            <a:r>
              <a:rPr lang="zh-CN" altLang="en-US" sz="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亿元，净利润率</a:t>
            </a:r>
            <a:r>
              <a:rPr lang="en-US" altLang="zh-CN" sz="800" b="1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21.4%</a:t>
            </a:r>
            <a:r>
              <a:rPr lang="zh-CN" altLang="en-US" sz="800" b="1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/>
              </a:rPr>
              <a:t>。</a:t>
            </a:r>
            <a:endParaRPr lang="en-US" altLang="zh-CN" sz="800" b="1" kern="0" dirty="0">
              <a:latin typeface="微软雅黑" panose="020B0503020204020204" pitchFamily="34" charset="-122"/>
              <a:ea typeface="微软雅黑" panose="020B0503020204020204" pitchFamily="34" charset="-122"/>
              <a:cs typeface="宋体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63352" y="602665"/>
            <a:ext cx="7776542" cy="40729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静态测算明细</a:t>
            </a:r>
            <a:endParaRPr lang="zh-CN" altLang="en-US" sz="2000" b="1" dirty="0">
              <a:solidFill>
                <a:srgbClr val="C00000"/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/>
        </p:nvGraphicFramePr>
        <p:xfrm>
          <a:off x="4583832" y="5716096"/>
          <a:ext cx="6768752" cy="10972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984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570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132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3660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产品类型</a:t>
                      </a:r>
                      <a:endParaRPr lang="zh-CN" alt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建筑面积（㎡）</a:t>
                      </a:r>
                      <a:endParaRPr lang="zh-CN" alt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入市价</a:t>
                      </a:r>
                      <a:endParaRPr lang="zh-CN" alt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66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（元</a:t>
                      </a:r>
                      <a:r>
                        <a:rPr lang="en-US" altLang="zh-CN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/㎡</a:t>
                      </a:r>
                      <a:r>
                        <a:rPr lang="zh-CN" altLang="en-US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，元</a:t>
                      </a:r>
                      <a:r>
                        <a:rPr lang="en-US" altLang="zh-CN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/</a:t>
                      </a:r>
                      <a:r>
                        <a:rPr lang="zh-CN" altLang="en-US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个）</a:t>
                      </a:r>
                      <a:endParaRPr lang="zh-CN" alt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857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产权式酒店</a:t>
                      </a:r>
                      <a:endParaRPr lang="zh-CN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1" u="none" strike="noStrike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112438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20000</a:t>
                      </a:r>
                      <a:endParaRPr lang="en-US" altLang="zh-CN" sz="8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366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车位（元</a:t>
                      </a:r>
                      <a:r>
                        <a:rPr lang="en-US" altLang="zh-CN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/</a:t>
                      </a:r>
                      <a:r>
                        <a:rPr lang="zh-CN" altLang="en-US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个）</a:t>
                      </a:r>
                      <a:endParaRPr lang="zh-CN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1" u="none" strike="noStrike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645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100000</a:t>
                      </a:r>
                      <a:endParaRPr lang="en-US" altLang="zh-CN" sz="8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3660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总货值（亿元）</a:t>
                      </a:r>
                      <a:endParaRPr lang="zh-CN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23.1</a:t>
                      </a:r>
                      <a:endParaRPr lang="en-US" altLang="zh-CN" sz="8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3660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整盘均价（元</a:t>
                      </a:r>
                      <a:r>
                        <a:rPr lang="en-US" altLang="zh-CN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/㎡</a:t>
                      </a:r>
                      <a:r>
                        <a:rPr lang="zh-CN" altLang="en-US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）</a:t>
                      </a:r>
                      <a:endParaRPr lang="zh-CN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20574</a:t>
                      </a:r>
                      <a:endParaRPr lang="en-US" altLang="zh-CN" sz="8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3660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楼面地价（元</a:t>
                      </a:r>
                      <a:r>
                        <a:rPr lang="en-US" altLang="zh-CN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/㎡</a:t>
                      </a:r>
                      <a:r>
                        <a:rPr lang="zh-CN" altLang="en-US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）</a:t>
                      </a:r>
                      <a:endParaRPr lang="zh-CN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1" u="none" strike="noStrike" dirty="0"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3750</a:t>
                      </a:r>
                      <a:endParaRPr lang="en-US" altLang="zh-CN" sz="8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3660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u="none" strike="noStrike" dirty="0">
                          <a:solidFill>
                            <a:srgbClr val="FF0000"/>
                          </a:solidFill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项目净利润（亿元）</a:t>
                      </a:r>
                      <a:endParaRPr lang="zh-CN" alt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1" u="none" strike="noStrike" dirty="0">
                          <a:solidFill>
                            <a:srgbClr val="FF0000"/>
                          </a:solidFill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4.5</a:t>
                      </a:r>
                      <a:endParaRPr lang="en-US" altLang="zh-CN" sz="800" b="1" i="0" u="none" strike="noStrike" dirty="0">
                        <a:solidFill>
                          <a:srgbClr val="FF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83660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u="none" strike="noStrike" dirty="0">
                          <a:solidFill>
                            <a:srgbClr val="FF0000"/>
                          </a:solidFill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项目销售净利率</a:t>
                      </a:r>
                      <a:endParaRPr lang="zh-CN" alt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1" u="none" strike="noStrike" dirty="0">
                          <a:solidFill>
                            <a:srgbClr val="FF0000"/>
                          </a:solidFill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21.4%</a:t>
                      </a:r>
                      <a:endParaRPr lang="en-US" altLang="zh-CN" sz="800" b="1" i="0" u="none" strike="noStrike" dirty="0">
                        <a:solidFill>
                          <a:srgbClr val="FF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8" name="表格 7">
            <a:extLst>
              <a:ext uri="{FF2B5EF4-FFF2-40B4-BE49-F238E27FC236}">
                <a16:creationId xmlns:a16="http://schemas.microsoft.com/office/drawing/2014/main" id="{0859C021-CB44-F750-D56C-2634212DBDD4}"/>
              </a:ext>
            </a:extLst>
          </p:cNvPr>
          <p:cNvGraphicFramePr>
            <a:graphicFrameLocks noGrp="1"/>
          </p:cNvGraphicFramePr>
          <p:nvPr/>
        </p:nvGraphicFramePr>
        <p:xfrm>
          <a:off x="245758" y="1186272"/>
          <a:ext cx="4266066" cy="56052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52128">
                  <a:extLst>
                    <a:ext uri="{9D8B030D-6E8A-4147-A177-3AD203B41FA5}">
                      <a16:colId xmlns:a16="http://schemas.microsoft.com/office/drawing/2014/main" val="948236470"/>
                    </a:ext>
                  </a:extLst>
                </a:gridCol>
                <a:gridCol w="896535">
                  <a:extLst>
                    <a:ext uri="{9D8B030D-6E8A-4147-A177-3AD203B41FA5}">
                      <a16:colId xmlns:a16="http://schemas.microsoft.com/office/drawing/2014/main" val="2061206071"/>
                    </a:ext>
                  </a:extLst>
                </a:gridCol>
                <a:gridCol w="950689">
                  <a:extLst>
                    <a:ext uri="{9D8B030D-6E8A-4147-A177-3AD203B41FA5}">
                      <a16:colId xmlns:a16="http://schemas.microsoft.com/office/drawing/2014/main" val="2472142038"/>
                    </a:ext>
                  </a:extLst>
                </a:gridCol>
                <a:gridCol w="559583">
                  <a:extLst>
                    <a:ext uri="{9D8B030D-6E8A-4147-A177-3AD203B41FA5}">
                      <a16:colId xmlns:a16="http://schemas.microsoft.com/office/drawing/2014/main" val="534273564"/>
                    </a:ext>
                  </a:extLst>
                </a:gridCol>
                <a:gridCol w="1107131">
                  <a:extLst>
                    <a:ext uri="{9D8B030D-6E8A-4147-A177-3AD203B41FA5}">
                      <a16:colId xmlns:a16="http://schemas.microsoft.com/office/drawing/2014/main" val="3383223382"/>
                    </a:ext>
                  </a:extLst>
                </a:gridCol>
              </a:tblGrid>
              <a:tr h="132120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技术经济指标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9595175"/>
                  </a:ext>
                </a:extLst>
              </a:tr>
              <a:tr h="1321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项目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数值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单位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备注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88075943"/>
                  </a:ext>
                </a:extLst>
              </a:tr>
              <a:tr h="1321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净用地面积</a:t>
                      </a:r>
                      <a:r>
                        <a:rPr lang="en-US" altLang="zh-CN" sz="800" u="none" strike="noStrike">
                          <a:effectLst/>
                        </a:rPr>
                        <a:t>(㎡)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effectLst/>
                        </a:rPr>
                        <a:t>189096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>
                          <a:effectLst/>
                        </a:rPr>
                        <a:t>284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90678078"/>
                  </a:ext>
                </a:extLst>
              </a:tr>
              <a:tr h="1321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 总建筑面积</a:t>
                      </a:r>
                      <a:r>
                        <a:rPr lang="en-US" altLang="zh-CN" sz="800" u="none" strike="noStrike">
                          <a:effectLst/>
                        </a:rPr>
                        <a:t>(㎡)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effectLst/>
                        </a:rPr>
                        <a:t>154960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>
                          <a:effectLst/>
                        </a:rPr>
                        <a:t>79814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23360339"/>
                  </a:ext>
                </a:extLst>
              </a:tr>
              <a:tr h="1321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计容建筑面积</a:t>
                      </a:r>
                      <a:r>
                        <a:rPr lang="en-US" altLang="zh-CN" sz="800" u="none" strike="noStrike">
                          <a:effectLst/>
                        </a:rPr>
                        <a:t>(㎡)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effectLst/>
                        </a:rPr>
                        <a:t>113458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>
                          <a:effectLst/>
                        </a:rPr>
                        <a:t>608891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30886452"/>
                  </a:ext>
                </a:extLst>
              </a:tr>
              <a:tr h="1321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可售建筑面积</a:t>
                      </a:r>
                      <a:r>
                        <a:rPr lang="en-US" altLang="zh-CN" sz="800" u="none" strike="noStrike">
                          <a:effectLst/>
                        </a:rPr>
                        <a:t>(㎡)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effectLst/>
                        </a:rPr>
                        <a:t>112438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85221840"/>
                  </a:ext>
                </a:extLst>
              </a:tr>
              <a:tr h="13212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住宅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effectLst/>
                        </a:rPr>
                        <a:t>112438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>
                          <a:effectLst/>
                        </a:rPr>
                        <a:t>100.00%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79440796"/>
                  </a:ext>
                </a:extLst>
              </a:tr>
              <a:tr h="132120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其中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产权式酒店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effectLst/>
                        </a:rPr>
                        <a:t>112438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>
                          <a:effectLst/>
                        </a:rPr>
                        <a:t>0.184660049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42708758"/>
                  </a:ext>
                </a:extLst>
              </a:tr>
              <a:tr h="13212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>
                          <a:effectLst/>
                        </a:rPr>
                        <a:t>0.00 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6986940"/>
                  </a:ext>
                </a:extLst>
              </a:tr>
              <a:tr h="135152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4348536"/>
                  </a:ext>
                </a:extLst>
              </a:tr>
              <a:tr h="13212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1289554"/>
                  </a:ext>
                </a:extLst>
              </a:tr>
              <a:tr h="13212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91176538"/>
                  </a:ext>
                </a:extLst>
              </a:tr>
              <a:tr h="13212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37424263"/>
                  </a:ext>
                </a:extLst>
              </a:tr>
              <a:tr h="13212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59553336"/>
                  </a:ext>
                </a:extLst>
              </a:tr>
              <a:tr h="13212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71824659"/>
                  </a:ext>
                </a:extLst>
              </a:tr>
              <a:tr h="13212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商业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effectLst/>
                        </a:rPr>
                        <a:t>0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>
                          <a:effectLst/>
                        </a:rPr>
                        <a:t>0.00%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1736181"/>
                  </a:ext>
                </a:extLst>
              </a:tr>
              <a:tr h="132120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其中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社区商业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>
                          <a:effectLst/>
                        </a:rPr>
                        <a:t>0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485792"/>
                  </a:ext>
                </a:extLst>
              </a:tr>
              <a:tr h="13212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59516512"/>
                  </a:ext>
                </a:extLst>
              </a:tr>
              <a:tr h="135152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33391554"/>
                  </a:ext>
                </a:extLst>
              </a:tr>
              <a:tr h="13212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00981423"/>
                  </a:ext>
                </a:extLst>
              </a:tr>
              <a:tr h="13212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94598262"/>
                  </a:ext>
                </a:extLst>
              </a:tr>
              <a:tr h="18222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57978193"/>
                  </a:ext>
                </a:extLst>
              </a:tr>
              <a:tr h="13212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配套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effectLst/>
                        </a:rPr>
                        <a:t>1020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46414625"/>
                  </a:ext>
                </a:extLst>
              </a:tr>
              <a:tr h="132120"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其中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物业管理用房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effectLst/>
                        </a:rPr>
                        <a:t>1020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总建筑面积的</a:t>
                      </a:r>
                      <a:r>
                        <a:rPr lang="en-US" altLang="zh-CN" sz="800" u="none" strike="noStrike">
                          <a:effectLst/>
                        </a:rPr>
                        <a:t>0.2%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28372351"/>
                  </a:ext>
                </a:extLst>
              </a:tr>
              <a:tr h="13212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社区工作服务用房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55324963"/>
                  </a:ext>
                </a:extLst>
              </a:tr>
              <a:tr h="13212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养老服务用房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每百户</a:t>
                      </a:r>
                      <a:r>
                        <a:rPr lang="en-US" altLang="zh-CN" sz="800" u="none" strike="noStrike">
                          <a:effectLst/>
                        </a:rPr>
                        <a:t>20㎡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42842854"/>
                  </a:ext>
                </a:extLst>
              </a:tr>
              <a:tr h="13212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幼儿园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0046182"/>
                  </a:ext>
                </a:extLst>
              </a:tr>
              <a:tr h="13212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其他配套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78209160"/>
                  </a:ext>
                </a:extLst>
              </a:tr>
              <a:tr h="13212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82850373"/>
                  </a:ext>
                </a:extLst>
              </a:tr>
              <a:tr h="13212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50730157"/>
                  </a:ext>
                </a:extLst>
              </a:tr>
              <a:tr h="13212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7000544"/>
                  </a:ext>
                </a:extLst>
              </a:tr>
              <a:tr h="13212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61745851"/>
                  </a:ext>
                </a:extLst>
              </a:tr>
              <a:tr h="13212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不计容建筑面积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effectLst/>
                        </a:rPr>
                        <a:t>41503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㎡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>
                          <a:effectLst/>
                        </a:rPr>
                        <a:t>36.5㎡/</a:t>
                      </a:r>
                      <a:r>
                        <a:rPr lang="zh-CN" altLang="en-US" sz="800" u="none" strike="noStrike">
                          <a:effectLst/>
                        </a:rPr>
                        <a:t>个车位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162686201"/>
                  </a:ext>
                </a:extLst>
              </a:tr>
              <a:tr h="13212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其中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非人防地下室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effectLst/>
                        </a:rPr>
                        <a:t>41503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34837644"/>
                  </a:ext>
                </a:extLst>
              </a:tr>
              <a:tr h="13212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人防地下室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计容面积的</a:t>
                      </a:r>
                      <a:r>
                        <a:rPr lang="en-US" altLang="zh-CN" sz="800" u="none" strike="noStrike">
                          <a:effectLst/>
                        </a:rPr>
                        <a:t>5%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57653085"/>
                  </a:ext>
                </a:extLst>
              </a:tr>
              <a:tr h="13212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车位数量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effectLst/>
                        </a:rPr>
                        <a:t>1613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36894247"/>
                  </a:ext>
                </a:extLst>
              </a:tr>
              <a:tr h="13212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建筑密度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effectLst/>
                        </a:rPr>
                        <a:t>30.0%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60071358"/>
                  </a:ext>
                </a:extLst>
              </a:tr>
              <a:tr h="13212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容积率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effectLst/>
                        </a:rPr>
                        <a:t>0.6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>
                          <a:effectLst/>
                        </a:rPr>
                        <a:t>-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全项目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40780384"/>
                  </a:ext>
                </a:extLst>
              </a:tr>
              <a:tr h="13212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绿地率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>
                          <a:effectLst/>
                        </a:rPr>
                        <a:t>%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27132475"/>
                  </a:ext>
                </a:extLst>
              </a:tr>
              <a:tr h="13212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总户数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effectLst/>
                        </a:rPr>
                        <a:t>1080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6105711"/>
                  </a:ext>
                </a:extLst>
              </a:tr>
              <a:tr h="132120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336032308"/>
                  </a:ext>
                </a:extLst>
              </a:tr>
              <a:tr h="132120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u="none" strike="noStrike">
                          <a:effectLst/>
                        </a:rPr>
                        <a:t>特殊要求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u="none" strike="noStrike">
                          <a:effectLst/>
                        </a:rPr>
                        <a:t>商住比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>
                          <a:effectLst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effectLst/>
                        </a:rPr>
                        <a:t>73%</a:t>
                      </a:r>
                      <a:endParaRPr lang="en-US" altLang="zh-CN" sz="800" b="0" i="0" u="none" strike="noStrike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effectLst/>
                        </a:rPr>
                        <a:t>　</a:t>
                      </a:r>
                      <a:endParaRPr lang="zh-CN" altLang="en-US" sz="800" b="0" i="0" u="none" strike="noStrike" dirty="0">
                        <a:solidFill>
                          <a:srgbClr val="FFFFFF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70916403"/>
                  </a:ext>
                </a:extLst>
              </a:tr>
            </a:tbl>
          </a:graphicData>
        </a:graphic>
      </p:graphicFrame>
      <p:graphicFrame>
        <p:nvGraphicFramePr>
          <p:cNvPr id="9" name="表格 8">
            <a:extLst>
              <a:ext uri="{FF2B5EF4-FFF2-40B4-BE49-F238E27FC236}">
                <a16:creationId xmlns:a16="http://schemas.microsoft.com/office/drawing/2014/main" id="{B6934B23-853A-BF78-6BB9-8F2EFAD33B85}"/>
              </a:ext>
            </a:extLst>
          </p:cNvPr>
          <p:cNvGraphicFramePr>
            <a:graphicFrameLocks noGrp="1"/>
          </p:cNvGraphicFramePr>
          <p:nvPr/>
        </p:nvGraphicFramePr>
        <p:xfrm>
          <a:off x="4573290" y="1186272"/>
          <a:ext cx="3695700" cy="13430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67220">
                  <a:extLst>
                    <a:ext uri="{9D8B030D-6E8A-4147-A177-3AD203B41FA5}">
                      <a16:colId xmlns:a16="http://schemas.microsoft.com/office/drawing/2014/main" val="1372836272"/>
                    </a:ext>
                  </a:extLst>
                </a:gridCol>
                <a:gridCol w="1728480">
                  <a:extLst>
                    <a:ext uri="{9D8B030D-6E8A-4147-A177-3AD203B41FA5}">
                      <a16:colId xmlns:a16="http://schemas.microsoft.com/office/drawing/2014/main" val="620711623"/>
                    </a:ext>
                  </a:extLst>
                </a:gridCol>
              </a:tblGrid>
              <a:tr h="17145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土地成本假设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1948607"/>
                  </a:ext>
                </a:extLst>
              </a:tr>
              <a:tr h="31432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指标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99422194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楼面地价（元</a:t>
                      </a:r>
                      <a:r>
                        <a:rPr lang="en-US" altLang="zh-CN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/㎡</a:t>
                      </a:r>
                      <a:r>
                        <a:rPr lang="zh-CN" altLang="en-US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）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3750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00125911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土地总价（万元）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42546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30733204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原始土地总价（万元）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42546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36724485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土地溢价（万元）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01523365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可抵扣土地成本（万元）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u="none" strike="noStrike" dirty="0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44248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2454896"/>
                  </a:ext>
                </a:extLst>
              </a:tr>
            </a:tbl>
          </a:graphicData>
        </a:graphic>
      </p:graphicFrame>
      <p:graphicFrame>
        <p:nvGraphicFramePr>
          <p:cNvPr id="10" name="表格 9">
            <a:extLst>
              <a:ext uri="{FF2B5EF4-FFF2-40B4-BE49-F238E27FC236}">
                <a16:creationId xmlns:a16="http://schemas.microsoft.com/office/drawing/2014/main" id="{E4430F51-0A7F-F549-0D49-5BDA53E9E8D6}"/>
              </a:ext>
            </a:extLst>
          </p:cNvPr>
          <p:cNvGraphicFramePr>
            <a:graphicFrameLocks noGrp="1"/>
          </p:cNvGraphicFramePr>
          <p:nvPr/>
        </p:nvGraphicFramePr>
        <p:xfrm>
          <a:off x="4578568" y="2544316"/>
          <a:ext cx="3695700" cy="10287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67220">
                  <a:extLst>
                    <a:ext uri="{9D8B030D-6E8A-4147-A177-3AD203B41FA5}">
                      <a16:colId xmlns:a16="http://schemas.microsoft.com/office/drawing/2014/main" val="1131096765"/>
                    </a:ext>
                  </a:extLst>
                </a:gridCol>
                <a:gridCol w="1728480">
                  <a:extLst>
                    <a:ext uri="{9D8B030D-6E8A-4147-A177-3AD203B41FA5}">
                      <a16:colId xmlns:a16="http://schemas.microsoft.com/office/drawing/2014/main" val="2788729805"/>
                    </a:ext>
                  </a:extLst>
                </a:gridCol>
              </a:tblGrid>
              <a:tr h="17145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测算结果明细表</a:t>
                      </a:r>
                      <a:endParaRPr lang="zh-CN" altLang="en-US" sz="900" b="1" i="0" u="none" strike="noStrike">
                        <a:solidFill>
                          <a:srgbClr val="FF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608912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项目净利润（万元）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45419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97213842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项目销售净利率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21.40%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726897779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股权数额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100.00%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3879143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股东净利润（万元）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45419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7122743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股东销售净利率</a:t>
                      </a:r>
                      <a:endParaRPr lang="zh-CN" altLang="en-US" sz="900" b="1" i="0" u="none" strike="noStrike">
                        <a:solidFill>
                          <a:srgbClr val="FF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u="none" strike="noStrike" dirty="0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21.40%</a:t>
                      </a:r>
                      <a:endParaRPr lang="en-US" altLang="zh-CN" sz="900" b="1" i="0" u="none" strike="noStrike" dirty="0">
                        <a:solidFill>
                          <a:srgbClr val="FF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9519574"/>
                  </a:ext>
                </a:extLst>
              </a:tr>
            </a:tbl>
          </a:graphicData>
        </a:graphic>
      </p:graphicFrame>
      <p:graphicFrame>
        <p:nvGraphicFramePr>
          <p:cNvPr id="11" name="表格 10">
            <a:extLst>
              <a:ext uri="{FF2B5EF4-FFF2-40B4-BE49-F238E27FC236}">
                <a16:creationId xmlns:a16="http://schemas.microsoft.com/office/drawing/2014/main" id="{8F1FC17F-75B2-CF95-13AB-19A174CF426F}"/>
              </a:ext>
            </a:extLst>
          </p:cNvPr>
          <p:cNvGraphicFramePr>
            <a:graphicFrameLocks noGrp="1"/>
          </p:cNvGraphicFramePr>
          <p:nvPr/>
        </p:nvGraphicFramePr>
        <p:xfrm>
          <a:off x="4573290" y="3573016"/>
          <a:ext cx="7267504" cy="21480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07606">
                  <a:extLst>
                    <a:ext uri="{9D8B030D-6E8A-4147-A177-3AD203B41FA5}">
                      <a16:colId xmlns:a16="http://schemas.microsoft.com/office/drawing/2014/main" val="3021518855"/>
                    </a:ext>
                  </a:extLst>
                </a:gridCol>
                <a:gridCol w="694901">
                  <a:extLst>
                    <a:ext uri="{9D8B030D-6E8A-4147-A177-3AD203B41FA5}">
                      <a16:colId xmlns:a16="http://schemas.microsoft.com/office/drawing/2014/main" val="1615681373"/>
                    </a:ext>
                  </a:extLst>
                </a:gridCol>
                <a:gridCol w="868625">
                  <a:extLst>
                    <a:ext uri="{9D8B030D-6E8A-4147-A177-3AD203B41FA5}">
                      <a16:colId xmlns:a16="http://schemas.microsoft.com/office/drawing/2014/main" val="3722809216"/>
                    </a:ext>
                  </a:extLst>
                </a:gridCol>
                <a:gridCol w="547234">
                  <a:extLst>
                    <a:ext uri="{9D8B030D-6E8A-4147-A177-3AD203B41FA5}">
                      <a16:colId xmlns:a16="http://schemas.microsoft.com/office/drawing/2014/main" val="1784252979"/>
                    </a:ext>
                  </a:extLst>
                </a:gridCol>
                <a:gridCol w="787554">
                  <a:extLst>
                    <a:ext uri="{9D8B030D-6E8A-4147-A177-3AD203B41FA5}">
                      <a16:colId xmlns:a16="http://schemas.microsoft.com/office/drawing/2014/main" val="1357533076"/>
                    </a:ext>
                  </a:extLst>
                </a:gridCol>
                <a:gridCol w="625411">
                  <a:extLst>
                    <a:ext uri="{9D8B030D-6E8A-4147-A177-3AD203B41FA5}">
                      <a16:colId xmlns:a16="http://schemas.microsoft.com/office/drawing/2014/main" val="2473073887"/>
                    </a:ext>
                  </a:extLst>
                </a:gridCol>
                <a:gridCol w="625411">
                  <a:extLst>
                    <a:ext uri="{9D8B030D-6E8A-4147-A177-3AD203B41FA5}">
                      <a16:colId xmlns:a16="http://schemas.microsoft.com/office/drawing/2014/main" val="1453956279"/>
                    </a:ext>
                  </a:extLst>
                </a:gridCol>
                <a:gridCol w="625411">
                  <a:extLst>
                    <a:ext uri="{9D8B030D-6E8A-4147-A177-3AD203B41FA5}">
                      <a16:colId xmlns:a16="http://schemas.microsoft.com/office/drawing/2014/main" val="958981914"/>
                    </a:ext>
                  </a:extLst>
                </a:gridCol>
                <a:gridCol w="625411">
                  <a:extLst>
                    <a:ext uri="{9D8B030D-6E8A-4147-A177-3AD203B41FA5}">
                      <a16:colId xmlns:a16="http://schemas.microsoft.com/office/drawing/2014/main" val="3983745523"/>
                    </a:ext>
                  </a:extLst>
                </a:gridCol>
                <a:gridCol w="859940">
                  <a:extLst>
                    <a:ext uri="{9D8B030D-6E8A-4147-A177-3AD203B41FA5}">
                      <a16:colId xmlns:a16="http://schemas.microsoft.com/office/drawing/2014/main" val="604288057"/>
                    </a:ext>
                  </a:extLst>
                </a:gridCol>
              </a:tblGrid>
              <a:tr h="144271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销售策略假设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年销售面积占比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货值（亿元）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25118588"/>
                  </a:ext>
                </a:extLst>
              </a:tr>
              <a:tr h="26449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业态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总建筑面积</a:t>
                      </a:r>
                      <a:b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</a:br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（㎡）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2023</a:t>
                      </a:r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年入市价</a:t>
                      </a:r>
                      <a:b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</a:br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（元</a:t>
                      </a:r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/㎡</a:t>
                      </a:r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）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年增长率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全周期均价（元</a:t>
                      </a:r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/㎡</a:t>
                      </a:r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）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2023</a:t>
                      </a:r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年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2024</a:t>
                      </a:r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年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2025</a:t>
                      </a:r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年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合计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合计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1386160"/>
                  </a:ext>
                </a:extLst>
              </a:tr>
              <a:tr h="14427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产权式酒店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11243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2000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2000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10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10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22.5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69401597"/>
                  </a:ext>
                </a:extLst>
              </a:tr>
              <a:tr h="14427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           </a:t>
                      </a:r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-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.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748397161"/>
                  </a:ext>
                </a:extLst>
              </a:tr>
              <a:tr h="14427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           </a:t>
                      </a:r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-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          </a:t>
                      </a:r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-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.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0949448"/>
                  </a:ext>
                </a:extLst>
              </a:tr>
              <a:tr h="14427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           </a:t>
                      </a:r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-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          </a:t>
                      </a:r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-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.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78105811"/>
                  </a:ext>
                </a:extLst>
              </a:tr>
              <a:tr h="14427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           </a:t>
                      </a:r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-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          </a:t>
                      </a:r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-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.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157394095"/>
                  </a:ext>
                </a:extLst>
              </a:tr>
              <a:tr h="14427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社区商业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2800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.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33342994"/>
                  </a:ext>
                </a:extLst>
              </a:tr>
              <a:tr h="14427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           </a:t>
                      </a:r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-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1600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.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64606666"/>
                  </a:ext>
                </a:extLst>
              </a:tr>
              <a:tr h="14427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           </a:t>
                      </a:r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-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.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00439584"/>
                  </a:ext>
                </a:extLst>
              </a:tr>
              <a:tr h="15228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           </a:t>
                      </a:r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-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          </a:t>
                      </a:r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-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.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16158691"/>
                  </a:ext>
                </a:extLst>
              </a:tr>
              <a:tr h="14427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车位（元</a:t>
                      </a:r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/</a:t>
                      </a:r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个）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10000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10000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10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10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.6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56918513"/>
                  </a:ext>
                </a:extLst>
              </a:tr>
              <a:tr h="14427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车位可售比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64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4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-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-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-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　</a:t>
                      </a:r>
                      <a:endParaRPr lang="zh-CN" altLang="en-US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963128967"/>
                  </a:ext>
                </a:extLst>
              </a:tr>
              <a:tr h="144271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当年货值（亿元）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23.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.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0.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23.1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800" u="none" strike="noStrike" dirty="0">
                          <a:effectLst/>
                          <a:latin typeface="Microsoft YaHei Light" panose="020B0502040204020203" pitchFamily="34" charset="-122"/>
                          <a:ea typeface="Microsoft YaHei Light" panose="020B0502040204020203" pitchFamily="34" charset="-122"/>
                        </a:rPr>
                        <a:t>23.13 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867272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49009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7484618" y="1144178"/>
            <a:ext cx="2719577" cy="1885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583"/>
              </a:lnSpc>
            </a:pPr>
            <a:r>
              <a:rPr sz="1200">
                <a:solidFill>
                  <a:srgbClr val="000000"/>
                </a:solidFill>
                <a:latin typeface="Microsoft YaHei"/>
                <a:cs typeface="Microsoft YaHei"/>
              </a:rPr>
              <a:t>立</a:t>
            </a:r>
            <a:r>
              <a:rPr sz="1200" spc="-95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sz="1200">
                <a:solidFill>
                  <a:srgbClr val="000000"/>
                </a:solidFill>
                <a:latin typeface="Microsoft YaHei"/>
                <a:cs typeface="Microsoft YaHei"/>
              </a:rPr>
              <a:t>足</a:t>
            </a:r>
            <a:r>
              <a:rPr sz="1200" spc="-95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sz="1200">
                <a:solidFill>
                  <a:srgbClr val="000000"/>
                </a:solidFill>
                <a:latin typeface="Microsoft YaHei"/>
                <a:cs typeface="Microsoft YaHei"/>
              </a:rPr>
              <a:t>诚</a:t>
            </a:r>
            <a:r>
              <a:rPr sz="1200" spc="-95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sz="1200">
                <a:solidFill>
                  <a:srgbClr val="000000"/>
                </a:solidFill>
                <a:latin typeface="Microsoft YaHei"/>
                <a:cs typeface="Microsoft YaHei"/>
              </a:rPr>
              <a:t>信</a:t>
            </a:r>
            <a:r>
              <a:rPr sz="1200" spc="383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sz="1200">
                <a:solidFill>
                  <a:srgbClr val="000000"/>
                </a:solidFill>
                <a:latin typeface="GAHJVS+Tw Cen MT Condensed Extra Bold"/>
                <a:cs typeface="GAHJVS+Tw Cen MT Condensed Extra Bold"/>
              </a:rPr>
              <a:t>•</a:t>
            </a:r>
            <a:r>
              <a:rPr sz="1200" spc="408">
                <a:solidFill>
                  <a:srgbClr val="000000"/>
                </a:solidFill>
                <a:latin typeface="GAHJVS+Tw Cen MT Condensed Extra Bold"/>
                <a:cs typeface="GAHJVS+Tw Cen MT Condensed Extra Bold"/>
              </a:rPr>
              <a:t> </a:t>
            </a:r>
            <a:r>
              <a:rPr sz="1200">
                <a:solidFill>
                  <a:srgbClr val="000000"/>
                </a:solidFill>
                <a:latin typeface="Microsoft YaHei"/>
                <a:cs typeface="Microsoft YaHei"/>
              </a:rPr>
              <a:t>创</a:t>
            </a:r>
            <a:r>
              <a:rPr sz="1200" spc="-95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sz="1200">
                <a:solidFill>
                  <a:srgbClr val="000000"/>
                </a:solidFill>
                <a:latin typeface="Microsoft YaHei"/>
                <a:cs typeface="Microsoft YaHei"/>
              </a:rPr>
              <a:t>造</a:t>
            </a:r>
            <a:r>
              <a:rPr sz="1200" spc="-95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sz="1200">
                <a:solidFill>
                  <a:srgbClr val="000000"/>
                </a:solidFill>
                <a:latin typeface="Microsoft YaHei"/>
                <a:cs typeface="Microsoft YaHei"/>
              </a:rPr>
              <a:t>价</a:t>
            </a:r>
            <a:r>
              <a:rPr sz="1200" spc="-95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sz="1200">
                <a:solidFill>
                  <a:srgbClr val="000000"/>
                </a:solidFill>
                <a:latin typeface="Microsoft YaHei"/>
                <a:cs typeface="Microsoft YaHei"/>
              </a:rPr>
              <a:t>值</a:t>
            </a:r>
            <a:r>
              <a:rPr sz="1200" spc="383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sz="1200">
                <a:solidFill>
                  <a:srgbClr val="000000"/>
                </a:solidFill>
                <a:latin typeface="GAHJVS+Tw Cen MT Condensed Extra Bold"/>
                <a:cs typeface="GAHJVS+Tw Cen MT Condensed Extra Bold"/>
              </a:rPr>
              <a:t>•</a:t>
            </a:r>
            <a:r>
              <a:rPr sz="1200" spc="396">
                <a:solidFill>
                  <a:srgbClr val="000000"/>
                </a:solidFill>
                <a:latin typeface="GAHJVS+Tw Cen MT Condensed Extra Bold"/>
                <a:cs typeface="GAHJVS+Tw Cen MT Condensed Extra Bold"/>
              </a:rPr>
              <a:t> </a:t>
            </a:r>
            <a:r>
              <a:rPr sz="1200">
                <a:solidFill>
                  <a:srgbClr val="000000"/>
                </a:solidFill>
                <a:latin typeface="Microsoft YaHei"/>
                <a:cs typeface="Microsoft YaHei"/>
              </a:rPr>
              <a:t>追</a:t>
            </a:r>
            <a:r>
              <a:rPr sz="1200" spc="-93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sz="1200">
                <a:solidFill>
                  <a:srgbClr val="000000"/>
                </a:solidFill>
                <a:latin typeface="Microsoft YaHei"/>
                <a:cs typeface="Microsoft YaHei"/>
              </a:rPr>
              <a:t>求</a:t>
            </a:r>
            <a:r>
              <a:rPr sz="1200" spc="-93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sz="1200">
                <a:solidFill>
                  <a:srgbClr val="000000"/>
                </a:solidFill>
                <a:latin typeface="Microsoft YaHei"/>
                <a:cs typeface="Microsoft YaHei"/>
              </a:rPr>
              <a:t>卓</a:t>
            </a:r>
            <a:r>
              <a:rPr sz="1200" spc="-93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sz="1200">
                <a:solidFill>
                  <a:srgbClr val="000000"/>
                </a:solidFill>
                <a:latin typeface="Microsoft YaHei"/>
                <a:cs typeface="Microsoft YaHei"/>
              </a:rPr>
              <a:t>越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2204923" y="3024068"/>
            <a:ext cx="1170432" cy="311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644"/>
              </a:lnSpc>
            </a:pPr>
            <a:r>
              <a:rPr sz="2000">
                <a:solidFill>
                  <a:srgbClr val="000000"/>
                </a:solidFill>
                <a:latin typeface="Microsoft YaHei"/>
                <a:cs typeface="Microsoft YaHei"/>
              </a:rPr>
              <a:t>联系我们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3582924" y="3085794"/>
            <a:ext cx="405993" cy="1555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317"/>
              </a:lnSpc>
            </a:pPr>
            <a:r>
              <a:rPr sz="1000">
                <a:solidFill>
                  <a:srgbClr val="000000"/>
                </a:solidFill>
                <a:latin typeface="Microsoft YaHei"/>
                <a:cs typeface="Microsoft YaHei"/>
              </a:rPr>
              <a:t>北京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4792346" y="3085794"/>
            <a:ext cx="405993" cy="1555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317"/>
              </a:lnSpc>
            </a:pPr>
            <a:r>
              <a:rPr sz="1000">
                <a:solidFill>
                  <a:srgbClr val="000000"/>
                </a:solidFill>
                <a:latin typeface="Microsoft YaHei"/>
                <a:cs typeface="Microsoft YaHei"/>
              </a:rPr>
              <a:t>上海</a:t>
            </a:r>
          </a:p>
        </p:txBody>
      </p:sp>
      <p:sp>
        <p:nvSpPr>
          <p:cNvPr id="7" name="object 7"/>
          <p:cNvSpPr txBox="1"/>
          <p:nvPr/>
        </p:nvSpPr>
        <p:spPr>
          <a:xfrm>
            <a:off x="6220079" y="3085794"/>
            <a:ext cx="405993" cy="1555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317"/>
              </a:lnSpc>
            </a:pPr>
            <a:r>
              <a:rPr sz="1000">
                <a:solidFill>
                  <a:srgbClr val="000000"/>
                </a:solidFill>
                <a:latin typeface="Microsoft YaHei"/>
                <a:cs typeface="Microsoft YaHei"/>
              </a:rPr>
              <a:t>深圳</a:t>
            </a:r>
          </a:p>
        </p:txBody>
      </p:sp>
      <p:sp>
        <p:nvSpPr>
          <p:cNvPr id="8" name="object 8"/>
          <p:cNvSpPr txBox="1"/>
          <p:nvPr/>
        </p:nvSpPr>
        <p:spPr>
          <a:xfrm>
            <a:off x="7838568" y="3085794"/>
            <a:ext cx="405993" cy="1555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317"/>
              </a:lnSpc>
            </a:pPr>
            <a:r>
              <a:rPr sz="1000">
                <a:solidFill>
                  <a:srgbClr val="000000"/>
                </a:solidFill>
                <a:latin typeface="Microsoft YaHei"/>
                <a:cs typeface="Microsoft YaHei"/>
              </a:rPr>
              <a:t>成都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9288144" y="3099016"/>
            <a:ext cx="381000" cy="1428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187"/>
              </a:lnSpc>
            </a:pP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珠海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3582923" y="3309582"/>
            <a:ext cx="495300" cy="1428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187"/>
              </a:lnSpc>
            </a:pP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朝阳区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4792345" y="3309582"/>
            <a:ext cx="495300" cy="1428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187"/>
              </a:lnSpc>
            </a:pP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静安区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6220078" y="3309582"/>
            <a:ext cx="495300" cy="1428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187"/>
              </a:lnSpc>
            </a:pP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福田区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7838567" y="3309582"/>
            <a:ext cx="495300" cy="1428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187"/>
              </a:lnSpc>
            </a:pP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锦江区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9288144" y="3304756"/>
            <a:ext cx="495300" cy="1428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187"/>
              </a:lnSpc>
            </a:pP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香洲区</a:t>
            </a:r>
          </a:p>
        </p:txBody>
      </p:sp>
      <p:sp>
        <p:nvSpPr>
          <p:cNvPr id="15" name="object 15"/>
          <p:cNvSpPr txBox="1"/>
          <p:nvPr/>
        </p:nvSpPr>
        <p:spPr>
          <a:xfrm>
            <a:off x="3582923" y="3515323"/>
            <a:ext cx="665988" cy="1413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187"/>
              </a:lnSpc>
            </a:pP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光华路</a:t>
            </a: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5</a:t>
            </a: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号</a:t>
            </a:r>
          </a:p>
        </p:txBody>
      </p:sp>
      <p:sp>
        <p:nvSpPr>
          <p:cNvPr id="16" name="object 16"/>
          <p:cNvSpPr txBox="1"/>
          <p:nvPr/>
        </p:nvSpPr>
        <p:spPr>
          <a:xfrm>
            <a:off x="4792346" y="3515323"/>
            <a:ext cx="1236345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187"/>
              </a:lnSpc>
            </a:pP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南京西路</a:t>
            </a: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1539</a:t>
            </a: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号</a:t>
            </a:r>
          </a:p>
          <a:p>
            <a:pPr>
              <a:lnSpc>
                <a:spcPts val="1187"/>
              </a:lnSpc>
              <a:spcBef>
                <a:spcPts val="432"/>
              </a:spcBef>
            </a:pP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静安嘉里中心</a:t>
            </a: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2</a:t>
            </a: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座</a:t>
            </a: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31</a:t>
            </a: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层</a:t>
            </a:r>
          </a:p>
          <a:p>
            <a:pPr>
              <a:lnSpc>
                <a:spcPts val="1187"/>
              </a:lnSpc>
              <a:spcBef>
                <a:spcPts val="432"/>
              </a:spcBef>
            </a:pP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3104</a:t>
            </a: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室</a:t>
            </a:r>
            <a:r>
              <a:rPr sz="900" spc="651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200040</a:t>
            </a:r>
          </a:p>
          <a:p>
            <a:pPr>
              <a:lnSpc>
                <a:spcPts val="974"/>
              </a:lnSpc>
              <a:spcBef>
                <a:spcPts val="598"/>
              </a:spcBef>
            </a:pP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+8621-80176588</a:t>
            </a:r>
          </a:p>
        </p:txBody>
      </p:sp>
      <p:sp>
        <p:nvSpPr>
          <p:cNvPr id="17" name="object 17"/>
          <p:cNvSpPr txBox="1"/>
          <p:nvPr/>
        </p:nvSpPr>
        <p:spPr>
          <a:xfrm>
            <a:off x="6220078" y="3515323"/>
            <a:ext cx="1200558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187"/>
              </a:lnSpc>
            </a:pPr>
            <a:r>
              <a:rPr sz="900" dirty="0">
                <a:solidFill>
                  <a:srgbClr val="000000"/>
                </a:solidFill>
                <a:latin typeface="Microsoft YaHei"/>
                <a:cs typeface="Microsoft YaHei"/>
              </a:rPr>
              <a:t>益田中路</a:t>
            </a:r>
            <a:r>
              <a:rPr sz="900" dirty="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4068</a:t>
            </a:r>
            <a:r>
              <a:rPr sz="900" dirty="0">
                <a:solidFill>
                  <a:srgbClr val="000000"/>
                </a:solidFill>
                <a:latin typeface="Microsoft YaHei"/>
                <a:cs typeface="Microsoft YaHei"/>
              </a:rPr>
              <a:t>号</a:t>
            </a:r>
          </a:p>
          <a:p>
            <a:pPr>
              <a:lnSpc>
                <a:spcPts val="1187"/>
              </a:lnSpc>
              <a:spcBef>
                <a:spcPts val="432"/>
              </a:spcBef>
            </a:pPr>
            <a:r>
              <a:rPr sz="900" dirty="0" err="1">
                <a:solidFill>
                  <a:srgbClr val="000000"/>
                </a:solidFill>
                <a:latin typeface="Microsoft YaHei"/>
                <a:cs typeface="Microsoft YaHei"/>
              </a:rPr>
              <a:t>卓越时代广场一期</a:t>
            </a:r>
            <a:endParaRPr sz="900" dirty="0">
              <a:solidFill>
                <a:srgbClr val="000000"/>
              </a:solidFill>
              <a:latin typeface="Microsoft YaHei"/>
              <a:cs typeface="Microsoft YaHei"/>
            </a:endParaRPr>
          </a:p>
          <a:p>
            <a:pPr>
              <a:lnSpc>
                <a:spcPts val="1187"/>
              </a:lnSpc>
              <a:spcBef>
                <a:spcPts val="432"/>
              </a:spcBef>
            </a:pPr>
            <a:r>
              <a:rPr sz="900" dirty="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2005-2006</a:t>
            </a:r>
            <a:r>
              <a:rPr sz="900" dirty="0">
                <a:solidFill>
                  <a:srgbClr val="000000"/>
                </a:solidFill>
                <a:latin typeface="Microsoft YaHei"/>
                <a:cs typeface="Microsoft YaHei"/>
              </a:rPr>
              <a:t>室</a:t>
            </a:r>
            <a:r>
              <a:rPr sz="900" spc="638" dirty="0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sz="900" dirty="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518017</a:t>
            </a:r>
          </a:p>
          <a:p>
            <a:pPr>
              <a:lnSpc>
                <a:spcPts val="974"/>
              </a:lnSpc>
              <a:spcBef>
                <a:spcPts val="598"/>
              </a:spcBef>
            </a:pPr>
            <a:r>
              <a:rPr sz="900" dirty="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+86755-82555170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7838567" y="3515323"/>
            <a:ext cx="1123188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187"/>
              </a:lnSpc>
            </a:pP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红星路三段</a:t>
            </a: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1</a:t>
            </a: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号</a:t>
            </a:r>
          </a:p>
          <a:p>
            <a:pPr>
              <a:lnSpc>
                <a:spcPts val="1187"/>
              </a:lnSpc>
              <a:spcBef>
                <a:spcPts val="432"/>
              </a:spcBef>
            </a:pP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国际金融中心</a:t>
            </a: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2</a:t>
            </a: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号楼</a:t>
            </a:r>
          </a:p>
          <a:p>
            <a:pPr>
              <a:lnSpc>
                <a:spcPts val="1187"/>
              </a:lnSpc>
              <a:spcBef>
                <a:spcPts val="432"/>
              </a:spcBef>
            </a:pP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3212</a:t>
            </a: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室</a:t>
            </a:r>
            <a:r>
              <a:rPr sz="900" spc="651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610000</a:t>
            </a:r>
          </a:p>
          <a:p>
            <a:pPr>
              <a:lnSpc>
                <a:spcPts val="974"/>
              </a:lnSpc>
              <a:spcBef>
                <a:spcPts val="598"/>
              </a:spcBef>
            </a:pP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+8628-86154369</a:t>
            </a:r>
          </a:p>
        </p:txBody>
      </p:sp>
      <p:sp>
        <p:nvSpPr>
          <p:cNvPr id="19" name="object 19"/>
          <p:cNvSpPr txBox="1"/>
          <p:nvPr/>
        </p:nvSpPr>
        <p:spPr>
          <a:xfrm>
            <a:off x="9288144" y="3510496"/>
            <a:ext cx="1295400" cy="3480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187"/>
              </a:lnSpc>
            </a:pP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吉大九洲大道东</a:t>
            </a: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1199</a:t>
            </a: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号</a:t>
            </a:r>
          </a:p>
          <a:p>
            <a:pPr>
              <a:lnSpc>
                <a:spcPts val="1187"/>
              </a:lnSpc>
              <a:spcBef>
                <a:spcPts val="432"/>
              </a:spcBef>
            </a:pP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珠海泰福国际金融大厦</a:t>
            </a:r>
          </a:p>
        </p:txBody>
      </p:sp>
      <p:sp>
        <p:nvSpPr>
          <p:cNvPr id="20" name="object 20"/>
          <p:cNvSpPr txBox="1"/>
          <p:nvPr/>
        </p:nvSpPr>
        <p:spPr>
          <a:xfrm>
            <a:off x="3582923" y="3721063"/>
            <a:ext cx="1066800" cy="5642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187"/>
              </a:lnSpc>
            </a:pP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世纪财富中心西座</a:t>
            </a:r>
          </a:p>
          <a:p>
            <a:pPr>
              <a:lnSpc>
                <a:spcPts val="1187"/>
              </a:lnSpc>
              <a:spcBef>
                <a:spcPts val="432"/>
              </a:spcBef>
            </a:pP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22</a:t>
            </a: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层</a:t>
            </a:r>
            <a:r>
              <a:rPr sz="900" spc="663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100020</a:t>
            </a:r>
          </a:p>
          <a:p>
            <a:pPr>
              <a:lnSpc>
                <a:spcPts val="974"/>
              </a:lnSpc>
              <a:spcBef>
                <a:spcPts val="598"/>
              </a:spcBef>
            </a:pP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+8610-65847588</a:t>
            </a:r>
          </a:p>
        </p:txBody>
      </p:sp>
      <p:sp>
        <p:nvSpPr>
          <p:cNvPr id="21" name="object 21"/>
          <p:cNvSpPr txBox="1"/>
          <p:nvPr/>
        </p:nvSpPr>
        <p:spPr>
          <a:xfrm>
            <a:off x="9288145" y="3943128"/>
            <a:ext cx="264821" cy="1282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74"/>
              </a:lnSpc>
            </a:pP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18</a:t>
            </a:r>
          </a:p>
        </p:txBody>
      </p:sp>
      <p:sp>
        <p:nvSpPr>
          <p:cNvPr id="22" name="object 22"/>
          <p:cNvSpPr txBox="1"/>
          <p:nvPr/>
        </p:nvSpPr>
        <p:spPr>
          <a:xfrm>
            <a:off x="9400920" y="3921977"/>
            <a:ext cx="608380" cy="1413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187"/>
              </a:lnSpc>
            </a:pP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楼</a:t>
            </a: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02</a:t>
            </a: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单元</a:t>
            </a:r>
          </a:p>
        </p:txBody>
      </p:sp>
      <p:sp>
        <p:nvSpPr>
          <p:cNvPr id="23" name="object 23"/>
          <p:cNvSpPr txBox="1"/>
          <p:nvPr/>
        </p:nvSpPr>
        <p:spPr>
          <a:xfrm>
            <a:off x="9288145" y="4148868"/>
            <a:ext cx="936817" cy="1282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74"/>
              </a:lnSpc>
            </a:pP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+86756-3292001</a:t>
            </a:r>
          </a:p>
        </p:txBody>
      </p:sp>
      <p:sp>
        <p:nvSpPr>
          <p:cNvPr id="24" name="object 24"/>
          <p:cNvSpPr txBox="1"/>
          <p:nvPr/>
        </p:nvSpPr>
        <p:spPr>
          <a:xfrm>
            <a:off x="3588385" y="4674379"/>
            <a:ext cx="405384" cy="1555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314"/>
              </a:lnSpc>
            </a:pPr>
            <a:r>
              <a:rPr sz="1000">
                <a:solidFill>
                  <a:srgbClr val="000000"/>
                </a:solidFill>
                <a:latin typeface="Microsoft YaHei"/>
                <a:cs typeface="Microsoft YaHei"/>
              </a:rPr>
              <a:t>香港</a:t>
            </a:r>
          </a:p>
        </p:txBody>
      </p:sp>
      <p:sp>
        <p:nvSpPr>
          <p:cNvPr id="25" name="object 25"/>
          <p:cNvSpPr txBox="1"/>
          <p:nvPr/>
        </p:nvSpPr>
        <p:spPr>
          <a:xfrm>
            <a:off x="4816094" y="4674379"/>
            <a:ext cx="405384" cy="1555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314"/>
              </a:lnSpc>
            </a:pPr>
            <a:r>
              <a:rPr sz="1000">
                <a:solidFill>
                  <a:srgbClr val="000000"/>
                </a:solidFill>
                <a:latin typeface="Microsoft YaHei"/>
                <a:cs typeface="Microsoft YaHei"/>
              </a:rPr>
              <a:t>美国</a:t>
            </a:r>
          </a:p>
        </p:txBody>
      </p:sp>
      <p:sp>
        <p:nvSpPr>
          <p:cNvPr id="26" name="object 26"/>
          <p:cNvSpPr txBox="1"/>
          <p:nvPr/>
        </p:nvSpPr>
        <p:spPr>
          <a:xfrm>
            <a:off x="3588385" y="4897590"/>
            <a:ext cx="609600" cy="1428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187"/>
              </a:lnSpc>
            </a:pP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香港中环</a:t>
            </a:r>
          </a:p>
        </p:txBody>
      </p:sp>
      <p:sp>
        <p:nvSpPr>
          <p:cNvPr id="27" name="object 27"/>
          <p:cNvSpPr txBox="1"/>
          <p:nvPr/>
        </p:nvSpPr>
        <p:spPr>
          <a:xfrm>
            <a:off x="4816094" y="4918742"/>
            <a:ext cx="1108442" cy="12182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74"/>
              </a:lnSpc>
            </a:pP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Desco Plaza</a:t>
            </a:r>
            <a:r>
              <a:rPr sz="900" spc="23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 </a:t>
            </a: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1,</a:t>
            </a:r>
          </a:p>
          <a:p>
            <a:pPr>
              <a:lnSpc>
                <a:spcPts val="974"/>
              </a:lnSpc>
              <a:spcBef>
                <a:spcPts val="647"/>
              </a:spcBef>
            </a:pP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3685</a:t>
            </a:r>
            <a:r>
              <a:rPr sz="900" spc="-2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 </a:t>
            </a: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Mt. Diablo</a:t>
            </a:r>
            <a:r>
              <a:rPr sz="900" spc="14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 </a:t>
            </a: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Blvd.</a:t>
            </a:r>
          </a:p>
          <a:p>
            <a:pPr>
              <a:lnSpc>
                <a:spcPts val="974"/>
              </a:lnSpc>
              <a:spcBef>
                <a:spcPts val="645"/>
              </a:spcBef>
            </a:pP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Suite</a:t>
            </a:r>
            <a:r>
              <a:rPr sz="900" spc="13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 </a:t>
            </a: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398,</a:t>
            </a:r>
            <a:r>
              <a:rPr sz="900" spc="-14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 </a:t>
            </a: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Lafayette</a:t>
            </a:r>
          </a:p>
          <a:p>
            <a:pPr>
              <a:lnSpc>
                <a:spcPts val="974"/>
              </a:lnSpc>
              <a:spcBef>
                <a:spcPts val="645"/>
              </a:spcBef>
            </a:pP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CA 94549,</a:t>
            </a:r>
            <a:r>
              <a:rPr sz="900" spc="-25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 </a:t>
            </a: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USA</a:t>
            </a:r>
          </a:p>
          <a:p>
            <a:pPr>
              <a:lnSpc>
                <a:spcPts val="974"/>
              </a:lnSpc>
              <a:spcBef>
                <a:spcPts val="695"/>
              </a:spcBef>
            </a:pP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+1 925</a:t>
            </a:r>
            <a:r>
              <a:rPr sz="900" spc="-2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 </a:t>
            </a: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310</a:t>
            </a:r>
            <a:r>
              <a:rPr sz="900" spc="-2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 </a:t>
            </a: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4111</a:t>
            </a:r>
          </a:p>
        </p:txBody>
      </p:sp>
      <p:sp>
        <p:nvSpPr>
          <p:cNvPr id="28" name="object 28"/>
          <p:cNvSpPr txBox="1"/>
          <p:nvPr/>
        </p:nvSpPr>
        <p:spPr>
          <a:xfrm>
            <a:off x="3588386" y="5103584"/>
            <a:ext cx="1007363" cy="5517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187"/>
              </a:lnSpc>
            </a:pP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康乐广场</a:t>
            </a: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8</a:t>
            </a: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号</a:t>
            </a:r>
          </a:p>
          <a:p>
            <a:pPr>
              <a:lnSpc>
                <a:spcPts val="1187"/>
              </a:lnSpc>
              <a:spcBef>
                <a:spcPts val="432"/>
              </a:spcBef>
            </a:pP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交易广场</a:t>
            </a: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1</a:t>
            </a: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座</a:t>
            </a: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11</a:t>
            </a: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楼</a:t>
            </a:r>
          </a:p>
          <a:p>
            <a:pPr>
              <a:lnSpc>
                <a:spcPts val="1187"/>
              </a:lnSpc>
              <a:spcBef>
                <a:spcPts val="432"/>
              </a:spcBef>
            </a:pP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08</a:t>
            </a:r>
            <a:r>
              <a:rPr sz="900">
                <a:solidFill>
                  <a:srgbClr val="000000"/>
                </a:solidFill>
                <a:latin typeface="Microsoft YaHei"/>
                <a:cs typeface="Microsoft YaHei"/>
              </a:rPr>
              <a:t>室</a:t>
            </a:r>
          </a:p>
        </p:txBody>
      </p:sp>
      <p:sp>
        <p:nvSpPr>
          <p:cNvPr id="29" name="object 29"/>
          <p:cNvSpPr txBox="1"/>
          <p:nvPr/>
        </p:nvSpPr>
        <p:spPr>
          <a:xfrm>
            <a:off x="3588386" y="5742007"/>
            <a:ext cx="881127" cy="1282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74"/>
              </a:lnSpc>
            </a:pPr>
            <a:r>
              <a:rPr sz="900">
                <a:solidFill>
                  <a:srgbClr val="000000"/>
                </a:solidFill>
                <a:latin typeface="VWCDEG+Tw Cen MT Condensed Extra Bold"/>
                <a:cs typeface="VWCDEG+Tw Cen MT Condensed Extra Bold"/>
              </a:rPr>
              <a:t>+852-37002988</a:t>
            </a:r>
          </a:p>
        </p:txBody>
      </p:sp>
      <p:sp>
        <p:nvSpPr>
          <p:cNvPr id="30" name="object 30"/>
          <p:cNvSpPr txBox="1"/>
          <p:nvPr/>
        </p:nvSpPr>
        <p:spPr>
          <a:xfrm>
            <a:off x="10324210" y="6383626"/>
            <a:ext cx="252898" cy="1154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873"/>
              </a:lnSpc>
            </a:pPr>
            <a:r>
              <a:rPr sz="800">
                <a:solidFill>
                  <a:srgbClr val="898989"/>
                </a:solidFill>
                <a:latin typeface="VWCDEG+Tw Cen MT Condensed Extra Bold"/>
                <a:cs typeface="VWCDEG+Tw Cen MT Condensed Extra Bold"/>
              </a:rPr>
              <a:t>17</a:t>
            </a:r>
          </a:p>
        </p:txBody>
      </p:sp>
      <p:pic>
        <p:nvPicPr>
          <p:cNvPr id="33" name="图片 32">
            <a:extLst>
              <a:ext uri="{FF2B5EF4-FFF2-40B4-BE49-F238E27FC236}">
                <a16:creationId xmlns:a16="http://schemas.microsoft.com/office/drawing/2014/main" id="{DBC32C83-2863-08BF-BCED-996FE546E5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314B41FB-F935-2A2E-D181-E63C061B28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90487" y="6327024"/>
            <a:ext cx="899829" cy="200258"/>
          </a:xfrm>
          <a:prstGeom prst="rect">
            <a:avLst/>
          </a:prstGeom>
        </p:spPr>
      </p:pic>
      <p:sp>
        <p:nvSpPr>
          <p:cNvPr id="4" name="object 1">
            <a:extLst>
              <a:ext uri="{FF2B5EF4-FFF2-40B4-BE49-F238E27FC236}">
                <a16:creationId xmlns:a16="http://schemas.microsoft.com/office/drawing/2014/main" id="{11AC5502-483A-71A1-EA6B-5D5F95DF3F9D}"/>
              </a:ext>
            </a:extLst>
          </p:cNvPr>
          <p:cNvSpPr/>
          <p:nvPr/>
        </p:nvSpPr>
        <p:spPr>
          <a:xfrm>
            <a:off x="0" y="1"/>
            <a:ext cx="12228926" cy="6857999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pic>
        <p:nvPicPr>
          <p:cNvPr id="43" name="图片 42">
            <a:extLst>
              <a:ext uri="{FF2B5EF4-FFF2-40B4-BE49-F238E27FC236}">
                <a16:creationId xmlns:a16="http://schemas.microsoft.com/office/drawing/2014/main" id="{7586387D-1B10-A893-C018-8066BA2BA39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923" t="7957" b="10962"/>
          <a:stretch/>
        </p:blipFill>
        <p:spPr>
          <a:xfrm>
            <a:off x="6352062" y="2342229"/>
            <a:ext cx="4746224" cy="4320480"/>
          </a:xfrm>
          <a:prstGeom prst="rect">
            <a:avLst/>
          </a:prstGeom>
        </p:spPr>
      </p:pic>
      <p:sp>
        <p:nvSpPr>
          <p:cNvPr id="9" name="TextBox 5"/>
          <p:cNvSpPr txBox="1">
            <a:spLocks noChangeArrowheads="1"/>
          </p:cNvSpPr>
          <p:nvPr/>
        </p:nvSpPr>
        <p:spPr bwMode="auto">
          <a:xfrm>
            <a:off x="452836" y="566786"/>
            <a:ext cx="7776542" cy="40729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位置 城市发展规划</a:t>
            </a:r>
          </a:p>
        </p:txBody>
      </p:sp>
      <p:sp>
        <p:nvSpPr>
          <p:cNvPr id="64" name="文本框 63"/>
          <p:cNvSpPr txBox="1"/>
          <p:nvPr/>
        </p:nvSpPr>
        <p:spPr>
          <a:xfrm>
            <a:off x="331375" y="1052736"/>
            <a:ext cx="11669281" cy="118532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>
              <a:lnSpc>
                <a:spcPct val="130000"/>
              </a:lnSpc>
              <a:defRPr sz="16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r>
              <a:rPr lang="zh-CN" altLang="en-US" sz="1400" dirty="0">
                <a:solidFill>
                  <a:srgbClr val="FF0000"/>
                </a:solidFill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项目位于海南省万宁市。</a:t>
            </a:r>
            <a:r>
              <a:rPr lang="zh-CN" altLang="en-US" sz="1400" dirty="0"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海南是中国的经济特区、自由贸易试验区；万宁市，位于海南岛东南部沿海，南距三亚海棠湾</a:t>
            </a:r>
            <a:r>
              <a:rPr lang="en-US" altLang="zh-CN" sz="1400" dirty="0"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68</a:t>
            </a:r>
            <a:r>
              <a:rPr lang="zh-CN" altLang="en-US" sz="1400" dirty="0"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公里，北离海口市</a:t>
            </a:r>
            <a:r>
              <a:rPr lang="en-US" altLang="zh-CN" sz="1400" dirty="0"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139</a:t>
            </a:r>
            <a:r>
              <a:rPr lang="zh-CN" altLang="en-US" sz="1400" dirty="0"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公里。项目用地位于万宁市南部礼纪镇新梅乡杨梅村，距兴隆直线距离</a:t>
            </a:r>
            <a:r>
              <a:rPr lang="en-US" altLang="zh-CN" sz="1400" dirty="0"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15</a:t>
            </a:r>
            <a:r>
              <a:rPr lang="zh-CN" altLang="en-US" sz="1400" dirty="0"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公里，距万宁市区直线距离</a:t>
            </a:r>
            <a:r>
              <a:rPr lang="en-US" altLang="zh-CN" sz="1400" dirty="0"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25</a:t>
            </a:r>
            <a:r>
              <a:rPr lang="zh-CN" altLang="en-US" sz="1400" dirty="0"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公里。</a:t>
            </a:r>
            <a:r>
              <a:rPr lang="zh-CN" altLang="en-US" sz="1400" dirty="0">
                <a:solidFill>
                  <a:srgbClr val="FF0000"/>
                </a:solidFill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项目用地背靠山脉望海，沿海青皮林保护地一侧，属国家海岸线、国家级冲浪圣地的规划范围，有日月湾、石梅湾、神州半岛，海岸景观，优势明显。临三亚国家级海岸海棠湾，</a:t>
            </a:r>
            <a:r>
              <a:rPr lang="en-US" altLang="zh-CN" sz="1400" dirty="0">
                <a:solidFill>
                  <a:srgbClr val="FF0000"/>
                </a:solidFill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20</a:t>
            </a:r>
            <a:r>
              <a:rPr lang="zh-CN" altLang="en-US" sz="1400" dirty="0">
                <a:solidFill>
                  <a:srgbClr val="FF0000"/>
                </a:solidFill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分钟车程，衔接三亚万宁，规划日月湾高铁站。</a:t>
            </a:r>
            <a:endParaRPr lang="en-US" altLang="zh-CN" sz="1400" dirty="0">
              <a:solidFill>
                <a:srgbClr val="FF0000"/>
              </a:solidFill>
              <a:latin typeface="幼圆" panose="02010509060101010101" charset="-122"/>
              <a:ea typeface="幼圆" panose="02010509060101010101" charset="-122"/>
              <a:cs typeface="幼圆" panose="02010509060101010101" charset="-122"/>
            </a:endParaRPr>
          </a:p>
        </p:txBody>
      </p:sp>
      <p:grpSp>
        <p:nvGrpSpPr>
          <p:cNvPr id="70" name="组合 69"/>
          <p:cNvGrpSpPr/>
          <p:nvPr/>
        </p:nvGrpSpPr>
        <p:grpSpPr>
          <a:xfrm>
            <a:off x="384486" y="2585463"/>
            <a:ext cx="7677908" cy="4214684"/>
            <a:chOff x="6168007" y="2664122"/>
            <a:chExt cx="7677908" cy="4214684"/>
          </a:xfrm>
        </p:grpSpPr>
        <p:grpSp>
          <p:nvGrpSpPr>
            <p:cNvPr id="69" name="组合 68"/>
            <p:cNvGrpSpPr/>
            <p:nvPr/>
          </p:nvGrpSpPr>
          <p:grpSpPr>
            <a:xfrm>
              <a:off x="13247673" y="6195298"/>
              <a:ext cx="598242" cy="683508"/>
              <a:chOff x="11767329" y="6205938"/>
              <a:chExt cx="533113" cy="609096"/>
            </a:xfrm>
          </p:grpSpPr>
          <p:pic>
            <p:nvPicPr>
              <p:cNvPr id="26" name="Picture 19" descr="9">
                <a:extLst>
                  <a:ext uri="{FF2B5EF4-FFF2-40B4-BE49-F238E27FC236}">
                    <a16:creationId xmlns:a16="http://schemas.microsoft.com/office/drawing/2014/main" id="{3FE62F52-486B-4217-8224-611BC57FA0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11883985" y="6205938"/>
                <a:ext cx="284686" cy="2880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7" name="文本框 26"/>
              <p:cNvSpPr txBox="1"/>
              <p:nvPr/>
            </p:nvSpPr>
            <p:spPr>
              <a:xfrm>
                <a:off x="11767329" y="6513338"/>
                <a:ext cx="533113" cy="301696"/>
              </a:xfrm>
              <a:prstGeom prst="rect">
                <a:avLst/>
              </a:prstGeom>
              <a:solidFill>
                <a:srgbClr val="FF0000"/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600" b="1" dirty="0">
                    <a:solidFill>
                      <a:schemeClr val="bg1"/>
                    </a:solidFill>
                  </a:rPr>
                  <a:t>本案</a:t>
                </a:r>
                <a:endParaRPr lang="en-US" altLang="zh-CN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68" name="组合 67"/>
            <p:cNvGrpSpPr/>
            <p:nvPr/>
          </p:nvGrpSpPr>
          <p:grpSpPr>
            <a:xfrm>
              <a:off x="6168007" y="2664122"/>
              <a:ext cx="5660533" cy="4077246"/>
              <a:chOff x="5661072" y="1983878"/>
              <a:chExt cx="6205050" cy="4469458"/>
            </a:xfrm>
          </p:grpSpPr>
          <p:pic>
            <p:nvPicPr>
              <p:cNvPr id="12" name="图片 11">
                <a:extLst>
                  <a:ext uri="{FF2B5EF4-FFF2-40B4-BE49-F238E27FC236}">
                    <a16:creationId xmlns:a16="http://schemas.microsoft.com/office/drawing/2014/main" id="{1F23194A-E9C1-56C5-2EF1-869F7945EC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661072" y="1983878"/>
                <a:ext cx="6205050" cy="4469458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15" name="Picture 19" descr="9">
                <a:extLst>
                  <a:ext uri="{FF2B5EF4-FFF2-40B4-BE49-F238E27FC236}">
                    <a16:creationId xmlns:a16="http://schemas.microsoft.com/office/drawing/2014/main" id="{3FE62F52-486B-4217-8224-611BC57FA0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104112" y="4365104"/>
                <a:ext cx="284686" cy="2880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6" name="文本框 15"/>
              <p:cNvSpPr txBox="1"/>
              <p:nvPr/>
            </p:nvSpPr>
            <p:spPr>
              <a:xfrm>
                <a:off x="7158554" y="4682552"/>
                <a:ext cx="646331" cy="369332"/>
              </a:xfrm>
              <a:prstGeom prst="rect">
                <a:avLst/>
              </a:prstGeom>
              <a:solidFill>
                <a:srgbClr val="FF0000"/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zh-CN" altLang="en-US" b="1" dirty="0">
                    <a:solidFill>
                      <a:schemeClr val="bg1"/>
                    </a:solidFill>
                  </a:rPr>
                  <a:t>本案</a:t>
                </a:r>
                <a:endParaRPr lang="en-US" altLang="zh-CN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" name="矩形 9"/>
              <p:cNvSpPr/>
              <p:nvPr/>
            </p:nvSpPr>
            <p:spPr>
              <a:xfrm>
                <a:off x="9840416" y="4748472"/>
                <a:ext cx="2025706" cy="1704864"/>
              </a:xfrm>
              <a:prstGeom prst="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cxnSp>
            <p:nvCxnSpPr>
              <p:cNvPr id="18" name="直接箭头连接符 17"/>
              <p:cNvCxnSpPr/>
              <p:nvPr/>
            </p:nvCxnSpPr>
            <p:spPr>
              <a:xfrm flipH="1">
                <a:off x="6528048" y="4653136"/>
                <a:ext cx="576064" cy="720080"/>
              </a:xfrm>
              <a:prstGeom prst="straightConnector1">
                <a:avLst/>
              </a:prstGeom>
              <a:ln w="31750"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文本框 22"/>
              <p:cNvSpPr txBox="1"/>
              <p:nvPr/>
            </p:nvSpPr>
            <p:spPr>
              <a:xfrm>
                <a:off x="5967295" y="5402632"/>
                <a:ext cx="1287532" cy="338554"/>
              </a:xfrm>
              <a:prstGeom prst="rect">
                <a:avLst/>
              </a:prstGeom>
              <a:noFill/>
              <a:ln w="22225"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600" b="1" dirty="0"/>
                  <a:t>三亚</a:t>
                </a:r>
                <a:r>
                  <a:rPr lang="en-US" altLang="zh-CN" sz="1600" b="1" dirty="0"/>
                  <a:t>·</a:t>
                </a:r>
                <a:r>
                  <a:rPr lang="zh-CN" altLang="en-US" sz="1600" b="1" dirty="0"/>
                  <a:t>海棠湾</a:t>
                </a: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 rot="18536441">
                <a:off x="6447164" y="4736727"/>
                <a:ext cx="622286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400" dirty="0"/>
                  <a:t>20km</a:t>
                </a:r>
                <a:endParaRPr lang="zh-CN" altLang="en-US" sz="1400" dirty="0"/>
              </a:p>
            </p:txBody>
          </p:sp>
          <p:sp>
            <p:nvSpPr>
              <p:cNvPr id="28" name="文本框 27"/>
              <p:cNvSpPr txBox="1"/>
              <p:nvPr/>
            </p:nvSpPr>
            <p:spPr>
              <a:xfrm>
                <a:off x="9336360" y="2276872"/>
                <a:ext cx="805029" cy="338554"/>
              </a:xfrm>
              <a:prstGeom prst="rect">
                <a:avLst/>
              </a:prstGeom>
              <a:noFill/>
              <a:ln w="22225"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600" b="1" dirty="0"/>
                  <a:t>万宁市</a:t>
                </a:r>
              </a:p>
            </p:txBody>
          </p:sp>
          <p:sp>
            <p:nvSpPr>
              <p:cNvPr id="29" name="文本框 28"/>
              <p:cNvSpPr txBox="1"/>
              <p:nvPr/>
            </p:nvSpPr>
            <p:spPr>
              <a:xfrm>
                <a:off x="6134604" y="2007297"/>
                <a:ext cx="655789" cy="371121"/>
              </a:xfrm>
              <a:prstGeom prst="rect">
                <a:avLst/>
              </a:prstGeom>
              <a:noFill/>
              <a:ln w="22225"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600" b="1" dirty="0"/>
                  <a:t>兴隆</a:t>
                </a:r>
              </a:p>
            </p:txBody>
          </p:sp>
          <p:cxnSp>
            <p:nvCxnSpPr>
              <p:cNvPr id="30" name="直接箭头连接符 29"/>
              <p:cNvCxnSpPr/>
              <p:nvPr/>
            </p:nvCxnSpPr>
            <p:spPr>
              <a:xfrm flipV="1">
                <a:off x="7388798" y="2615426"/>
                <a:ext cx="1947562" cy="1749678"/>
              </a:xfrm>
              <a:prstGeom prst="straightConnector1">
                <a:avLst/>
              </a:prstGeom>
              <a:ln w="31750"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文本框 30"/>
              <p:cNvSpPr txBox="1"/>
              <p:nvPr/>
            </p:nvSpPr>
            <p:spPr>
              <a:xfrm rot="19005087">
                <a:off x="7736184" y="3397815"/>
                <a:ext cx="622286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400" dirty="0"/>
                  <a:t>25km</a:t>
                </a:r>
                <a:endParaRPr lang="zh-CN" altLang="en-US" sz="1400" dirty="0"/>
              </a:p>
            </p:txBody>
          </p:sp>
          <p:cxnSp>
            <p:nvCxnSpPr>
              <p:cNvPr id="34" name="直接箭头连接符 33"/>
              <p:cNvCxnSpPr>
                <a:endCxn id="29" idx="2"/>
              </p:cNvCxnSpPr>
              <p:nvPr/>
            </p:nvCxnSpPr>
            <p:spPr>
              <a:xfrm flipH="1" flipV="1">
                <a:off x="6462499" y="2378418"/>
                <a:ext cx="717937" cy="1929385"/>
              </a:xfrm>
              <a:prstGeom prst="straightConnector1">
                <a:avLst/>
              </a:prstGeom>
              <a:ln w="31750"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文本框 34"/>
              <p:cNvSpPr txBox="1"/>
              <p:nvPr/>
            </p:nvSpPr>
            <p:spPr>
              <a:xfrm rot="4264946">
                <a:off x="6709685" y="3237096"/>
                <a:ext cx="622286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400" dirty="0"/>
                  <a:t>15km</a:t>
                </a:r>
                <a:endParaRPr lang="zh-CN" altLang="en-US" sz="1400" dirty="0"/>
              </a:p>
            </p:txBody>
          </p:sp>
          <p:sp>
            <p:nvSpPr>
              <p:cNvPr id="38" name="文本框 37"/>
              <p:cNvSpPr txBox="1"/>
              <p:nvPr/>
            </p:nvSpPr>
            <p:spPr>
              <a:xfrm rot="19680905">
                <a:off x="8242240" y="4648510"/>
                <a:ext cx="1011815" cy="338554"/>
              </a:xfrm>
              <a:prstGeom prst="rect">
                <a:avLst/>
              </a:prstGeom>
              <a:noFill/>
              <a:ln w="22225"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600" b="1" dirty="0"/>
                  <a:t>冲浪沙滩</a:t>
                </a:r>
              </a:p>
            </p:txBody>
          </p:sp>
        </p:grpSp>
      </p:grpSp>
      <p:grpSp>
        <p:nvGrpSpPr>
          <p:cNvPr id="72" name="组合 71"/>
          <p:cNvGrpSpPr/>
          <p:nvPr/>
        </p:nvGrpSpPr>
        <p:grpSpPr>
          <a:xfrm>
            <a:off x="4471638" y="5190666"/>
            <a:ext cx="1331492" cy="1351802"/>
            <a:chOff x="10271221" y="5184093"/>
            <a:chExt cx="1331492" cy="1351802"/>
          </a:xfrm>
        </p:grpSpPr>
        <p:sp>
          <p:nvSpPr>
            <p:cNvPr id="71" name="文本框 70"/>
            <p:cNvSpPr txBox="1"/>
            <p:nvPr/>
          </p:nvSpPr>
          <p:spPr>
            <a:xfrm>
              <a:off x="10869327" y="5184093"/>
              <a:ext cx="54373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400" b="1" dirty="0"/>
                <a:t>海口</a:t>
              </a:r>
            </a:p>
          </p:txBody>
        </p:sp>
        <p:sp>
          <p:nvSpPr>
            <p:cNvPr id="46" name="文本框 45"/>
            <p:cNvSpPr txBox="1"/>
            <p:nvPr/>
          </p:nvSpPr>
          <p:spPr>
            <a:xfrm>
              <a:off x="11058974" y="5922555"/>
              <a:ext cx="54373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400" b="1" dirty="0"/>
                <a:t>万宁</a:t>
              </a:r>
            </a:p>
          </p:txBody>
        </p:sp>
        <p:sp>
          <p:nvSpPr>
            <p:cNvPr id="45" name="文本框 44"/>
            <p:cNvSpPr txBox="1"/>
            <p:nvPr/>
          </p:nvSpPr>
          <p:spPr>
            <a:xfrm>
              <a:off x="10271221" y="6320451"/>
              <a:ext cx="818678" cy="215444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800" b="1" dirty="0"/>
                <a:t>三亚</a:t>
              </a:r>
            </a:p>
          </p:txBody>
        </p:sp>
      </p:grpSp>
      <p:pic>
        <p:nvPicPr>
          <p:cNvPr id="3" name="图片 2">
            <a:extLst>
              <a:ext uri="{FF2B5EF4-FFF2-40B4-BE49-F238E27FC236}">
                <a16:creationId xmlns:a16="http://schemas.microsoft.com/office/drawing/2014/main" id="{1FBE882C-10D4-6AD7-F06D-16D0483499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0317" y="6265228"/>
            <a:ext cx="683583" cy="32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3867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1">
            <a:extLst>
              <a:ext uri="{FF2B5EF4-FFF2-40B4-BE49-F238E27FC236}">
                <a16:creationId xmlns:a16="http://schemas.microsoft.com/office/drawing/2014/main" id="{774FBAA9-40E7-BF2B-11C6-A22DF4E3B7C2}"/>
              </a:ext>
            </a:extLst>
          </p:cNvPr>
          <p:cNvSpPr/>
          <p:nvPr/>
        </p:nvSpPr>
        <p:spPr>
          <a:xfrm>
            <a:off x="0" y="31709"/>
            <a:ext cx="12537066" cy="6857999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2" name="Rectangle 73">
            <a:extLst>
              <a:ext uri="{FF2B5EF4-FFF2-40B4-BE49-F238E27FC236}">
                <a16:creationId xmlns:a16="http://schemas.microsoft.com/office/drawing/2014/main" id="{A7E4BBB0-3109-1948-A2E5-03166BABB9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344" y="980728"/>
            <a:ext cx="12233006" cy="102374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prstClr val="black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项目地块紧邻</a:t>
            </a:r>
            <a:r>
              <a:rPr lang="en-US" altLang="zh-CN" sz="1400" b="1" dirty="0">
                <a:solidFill>
                  <a:prstClr val="black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G98</a:t>
            </a:r>
            <a:r>
              <a:rPr lang="zh-CN" altLang="en-US" sz="1400" b="1" dirty="0">
                <a:solidFill>
                  <a:prstClr val="black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东线高速，交通便利，条件得天独厚；</a:t>
            </a:r>
            <a:r>
              <a:rPr lang="zh-CN" altLang="en-US" sz="1400" b="1" dirty="0">
                <a:solidFill>
                  <a:srgbClr val="FF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地块紧邻万宁日月湾</a:t>
            </a:r>
            <a:r>
              <a:rPr lang="zh-CN" altLang="en-US" sz="1400" dirty="0">
                <a:latin typeface="幼圆" panose="02010509060101010101" pitchFamily="49" charset="-122"/>
                <a:ea typeface="幼圆" panose="02010509060101010101" pitchFamily="49" charset="-122"/>
              </a:rPr>
              <a:t>，是继三亚湾、亚龙湾、海棠湾（国家级海岸线）新开发起步的的一个</a:t>
            </a:r>
            <a:r>
              <a:rPr lang="zh-CN" altLang="en-US" sz="1400" b="1" dirty="0">
                <a:solidFill>
                  <a:srgbClr val="FF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核心湾区，国家级冲浪地，</a:t>
            </a:r>
            <a:r>
              <a:rPr lang="zh-CN" altLang="en-US" sz="1400" b="1" dirty="0">
                <a:latin typeface="幼圆" panose="02010509060101010101" pitchFamily="49" charset="-122"/>
                <a:ea typeface="幼圆" panose="02010509060101010101" pitchFamily="49" charset="-122"/>
              </a:rPr>
              <a:t>属国家级海岸线地块。</a:t>
            </a:r>
            <a:r>
              <a:rPr lang="zh-CN" altLang="en-US" sz="1400" b="1" dirty="0">
                <a:solidFill>
                  <a:prstClr val="black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周边现有青皮林自然保护区，石梅湾，冲浪沙滩等，</a:t>
            </a:r>
            <a:r>
              <a:rPr lang="zh-CN" altLang="en-US" sz="1400" b="1" dirty="0">
                <a:solidFill>
                  <a:srgbClr val="FF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旅游资源丰富</a:t>
            </a:r>
            <a:r>
              <a:rPr lang="zh-CN" altLang="en-US" sz="1400" b="1" dirty="0">
                <a:solidFill>
                  <a:prstClr val="black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。</a:t>
            </a:r>
            <a:endParaRPr lang="en-US" altLang="zh-CN" sz="1400" b="1" dirty="0">
              <a:latin typeface="幼圆" panose="02010509060101010101" pitchFamily="49" charset="-122"/>
              <a:ea typeface="幼圆" panose="020105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rgbClr val="FF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项目用地需下穿地块高速涵洞，距海岸线约计</a:t>
            </a:r>
            <a:r>
              <a:rPr lang="en-US" altLang="zh-CN" sz="1400" b="1" dirty="0">
                <a:solidFill>
                  <a:srgbClr val="FF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550</a:t>
            </a:r>
            <a:r>
              <a:rPr lang="zh-CN" altLang="en-US" sz="1400" b="1" dirty="0">
                <a:solidFill>
                  <a:srgbClr val="FF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米，距离最近高速口</a:t>
            </a:r>
            <a:r>
              <a:rPr lang="en-US" altLang="zh-CN" sz="1400" b="1" dirty="0">
                <a:solidFill>
                  <a:srgbClr val="FF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4KM</a:t>
            </a:r>
            <a:r>
              <a:rPr lang="zh-CN" altLang="en-US" sz="1400" b="1" dirty="0">
                <a:solidFill>
                  <a:prstClr val="black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。</a:t>
            </a:r>
            <a:endParaRPr lang="en-US" altLang="zh-CN" sz="1400" b="1" dirty="0">
              <a:solidFill>
                <a:prstClr val="black"/>
              </a:solidFill>
              <a:latin typeface="幼圆" panose="02010509060101010101" pitchFamily="49" charset="-122"/>
              <a:ea typeface="幼圆" panose="02010509060101010101" pitchFamily="49" charset="-122"/>
            </a:endParaRPr>
          </a:p>
        </p:txBody>
      </p:sp>
      <p:sp>
        <p:nvSpPr>
          <p:cNvPr id="13" name="TextBox 5"/>
          <p:cNvSpPr txBox="1">
            <a:spLocks noChangeArrowheads="1"/>
          </p:cNvSpPr>
          <p:nvPr/>
        </p:nvSpPr>
        <p:spPr bwMode="auto">
          <a:xfrm>
            <a:off x="257096" y="611951"/>
            <a:ext cx="7776542" cy="3895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 altLang="en-US" sz="2000" b="1" dirty="0">
                <a:solidFill>
                  <a:srgbClr val="C0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周边资源</a:t>
            </a:r>
          </a:p>
        </p:txBody>
      </p:sp>
      <p:grpSp>
        <p:nvGrpSpPr>
          <p:cNvPr id="8" name="组合 7"/>
          <p:cNvGrpSpPr/>
          <p:nvPr/>
        </p:nvGrpSpPr>
        <p:grpSpPr>
          <a:xfrm>
            <a:off x="157731" y="2011456"/>
            <a:ext cx="12133317" cy="4777410"/>
            <a:chOff x="-757350" y="1641427"/>
            <a:chExt cx="12897562" cy="5078327"/>
          </a:xfrm>
        </p:grpSpPr>
        <p:pic>
          <p:nvPicPr>
            <p:cNvPr id="31" name="图片 30">
              <a:extLst>
                <a:ext uri="{FF2B5EF4-FFF2-40B4-BE49-F238E27FC236}">
                  <a16:creationId xmlns:a16="http://schemas.microsoft.com/office/drawing/2014/main" id="{6E707E19-E746-80C3-F05C-A2E091BEB7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70696" y="1641427"/>
              <a:ext cx="7274218" cy="5078327"/>
            </a:xfrm>
            <a:prstGeom prst="rect">
              <a:avLst/>
            </a:prstGeom>
          </p:spPr>
        </p:pic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94468" y="2037160"/>
              <a:ext cx="1778456" cy="840598"/>
            </a:xfrm>
            <a:prstGeom prst="rect">
              <a:avLst/>
            </a:prstGeom>
          </p:spPr>
        </p:pic>
        <p:pic>
          <p:nvPicPr>
            <p:cNvPr id="11" name="图片 10">
              <a:extLst>
                <a:ext uri="{FF2B5EF4-FFF2-40B4-BE49-F238E27FC236}">
                  <a16:creationId xmlns:a16="http://schemas.microsoft.com/office/drawing/2014/main" id="{CC190B54-791A-516D-7995-E0F09004993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757350" y="1665079"/>
              <a:ext cx="1894666" cy="1251009"/>
            </a:xfrm>
            <a:prstGeom prst="rect">
              <a:avLst/>
            </a:prstGeom>
          </p:spPr>
        </p:pic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3020F807-D40C-16B3-D9FB-1BD5D7451DE3}"/>
                </a:ext>
              </a:extLst>
            </p:cNvPr>
            <p:cNvSpPr txBox="1"/>
            <p:nvPr/>
          </p:nvSpPr>
          <p:spPr>
            <a:xfrm>
              <a:off x="275207" y="1702114"/>
              <a:ext cx="855757" cy="26173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zh-CN" sz="1000" dirty="0"/>
                <a:t>1</a:t>
              </a:r>
              <a:r>
                <a:rPr lang="zh-CN" altLang="en-US" sz="1000" dirty="0"/>
                <a:t>号拍摄点</a:t>
              </a:r>
            </a:p>
          </p:txBody>
        </p:sp>
        <p:pic>
          <p:nvPicPr>
            <p:cNvPr id="19" name="图片 18">
              <a:extLst>
                <a:ext uri="{FF2B5EF4-FFF2-40B4-BE49-F238E27FC236}">
                  <a16:creationId xmlns:a16="http://schemas.microsoft.com/office/drawing/2014/main" id="{E1C362B0-B648-E1D4-DDEE-0B4E4A54220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68686" y="1647403"/>
              <a:ext cx="3641424" cy="2151783"/>
            </a:xfrm>
            <a:prstGeom prst="rect">
              <a:avLst/>
            </a:prstGeom>
          </p:spPr>
        </p:pic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6528EA6C-F459-E717-E15E-F6149B1EBB87}"/>
                </a:ext>
              </a:extLst>
            </p:cNvPr>
            <p:cNvSpPr txBox="1"/>
            <p:nvPr/>
          </p:nvSpPr>
          <p:spPr>
            <a:xfrm>
              <a:off x="8474519" y="1664099"/>
              <a:ext cx="875437" cy="245372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zh-CN" sz="900" dirty="0"/>
                <a:t>2</a:t>
              </a:r>
              <a:r>
                <a:rPr lang="zh-CN" altLang="en-US" sz="900" dirty="0"/>
                <a:t>号拍摄点</a:t>
              </a:r>
            </a:p>
          </p:txBody>
        </p:sp>
        <p:pic>
          <p:nvPicPr>
            <p:cNvPr id="23" name="图片 22">
              <a:extLst>
                <a:ext uri="{FF2B5EF4-FFF2-40B4-BE49-F238E27FC236}">
                  <a16:creationId xmlns:a16="http://schemas.microsoft.com/office/drawing/2014/main" id="{B6A92585-B25C-68D7-DC37-147C6C0079B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64780" y="3849539"/>
              <a:ext cx="3675432" cy="1664111"/>
            </a:xfrm>
            <a:prstGeom prst="rect">
              <a:avLst/>
            </a:prstGeom>
          </p:spPr>
        </p:pic>
        <p:sp>
          <p:nvSpPr>
            <p:cNvPr id="3" name="文本框 2"/>
            <p:cNvSpPr txBox="1"/>
            <p:nvPr/>
          </p:nvSpPr>
          <p:spPr>
            <a:xfrm>
              <a:off x="4079861" y="1664025"/>
              <a:ext cx="1800493" cy="36933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zh-CN" altLang="en-US" b="1" dirty="0">
                  <a:solidFill>
                    <a:srgbClr val="92D050"/>
                  </a:solidFill>
                </a:rPr>
                <a:t>兴隆温泉旅游区</a:t>
              </a:r>
            </a:p>
          </p:txBody>
        </p:sp>
        <p:sp>
          <p:nvSpPr>
            <p:cNvPr id="25" name="文本框 24"/>
            <p:cNvSpPr txBox="1"/>
            <p:nvPr/>
          </p:nvSpPr>
          <p:spPr>
            <a:xfrm>
              <a:off x="3425379" y="2025820"/>
              <a:ext cx="1579278" cy="36933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zh-CN" altLang="en-US" b="1" dirty="0">
                  <a:solidFill>
                    <a:srgbClr val="92D050"/>
                  </a:solidFill>
                </a:rPr>
                <a:t>兴隆热带花园</a:t>
              </a:r>
            </a:p>
          </p:txBody>
        </p:sp>
        <p:sp>
          <p:nvSpPr>
            <p:cNvPr id="26" name="文本框 25"/>
            <p:cNvSpPr txBox="1"/>
            <p:nvPr/>
          </p:nvSpPr>
          <p:spPr>
            <a:xfrm>
              <a:off x="1198570" y="3799186"/>
              <a:ext cx="932413" cy="24537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zh-CN" altLang="en-US" sz="900" b="1" dirty="0">
                  <a:solidFill>
                    <a:srgbClr val="92D050"/>
                  </a:solidFill>
                </a:rPr>
                <a:t>七仙岭风景区</a:t>
              </a:r>
            </a:p>
          </p:txBody>
        </p:sp>
        <p:sp>
          <p:nvSpPr>
            <p:cNvPr id="27" name="文本框 26"/>
            <p:cNvSpPr txBox="1"/>
            <p:nvPr/>
          </p:nvSpPr>
          <p:spPr>
            <a:xfrm>
              <a:off x="-310281" y="6376037"/>
              <a:ext cx="1545843" cy="24537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zh-CN" altLang="en-US" sz="900" b="1" dirty="0">
                  <a:solidFill>
                    <a:srgbClr val="92D050"/>
                  </a:solidFill>
                </a:rPr>
                <a:t>清水湾高尔夫球会、住区</a:t>
              </a:r>
            </a:p>
          </p:txBody>
        </p:sp>
        <p:sp>
          <p:nvSpPr>
            <p:cNvPr id="28" name="文本框 27"/>
            <p:cNvSpPr txBox="1"/>
            <p:nvPr/>
          </p:nvSpPr>
          <p:spPr>
            <a:xfrm>
              <a:off x="1042483" y="5472176"/>
              <a:ext cx="1177786" cy="24537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zh-CN" altLang="en-US" sz="900" b="1" dirty="0">
                  <a:solidFill>
                    <a:srgbClr val="92D050"/>
                  </a:solidFill>
                </a:rPr>
                <a:t>干什岭高尔夫球会</a:t>
              </a:r>
            </a:p>
          </p:txBody>
        </p:sp>
        <p:sp>
          <p:nvSpPr>
            <p:cNvPr id="29" name="文本框 28"/>
            <p:cNvSpPr txBox="1"/>
            <p:nvPr/>
          </p:nvSpPr>
          <p:spPr>
            <a:xfrm>
              <a:off x="1712494" y="6371274"/>
              <a:ext cx="564356" cy="24537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zh-CN" altLang="en-US" sz="900" b="1" dirty="0">
                  <a:solidFill>
                    <a:srgbClr val="92D050"/>
                  </a:solidFill>
                </a:rPr>
                <a:t>日月湾</a:t>
              </a:r>
            </a:p>
          </p:txBody>
        </p:sp>
        <p:sp>
          <p:nvSpPr>
            <p:cNvPr id="30" name="文本框 29"/>
            <p:cNvSpPr txBox="1"/>
            <p:nvPr/>
          </p:nvSpPr>
          <p:spPr>
            <a:xfrm>
              <a:off x="5880354" y="2772219"/>
              <a:ext cx="2419981" cy="39259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zh-CN" altLang="en-US" b="1" dirty="0">
                  <a:solidFill>
                    <a:srgbClr val="92D050"/>
                  </a:solidFill>
                </a:rPr>
                <a:t>石梅湾高端已建住区</a:t>
              </a:r>
            </a:p>
          </p:txBody>
        </p:sp>
      </p:grpSp>
      <p:sp>
        <p:nvSpPr>
          <p:cNvPr id="32" name="文本框 31">
            <a:extLst>
              <a:ext uri="{FF2B5EF4-FFF2-40B4-BE49-F238E27FC236}">
                <a16:creationId xmlns:a16="http://schemas.microsoft.com/office/drawing/2014/main" id="{3020F807-D40C-16B3-D9FB-1BD5D7451DE3}"/>
              </a:ext>
            </a:extLst>
          </p:cNvPr>
          <p:cNvSpPr txBox="1"/>
          <p:nvPr/>
        </p:nvSpPr>
        <p:spPr>
          <a:xfrm>
            <a:off x="3968397" y="5173733"/>
            <a:ext cx="279352" cy="276999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1</a:t>
            </a:r>
            <a:endParaRPr lang="zh-CN" altLang="en-US" sz="1200" dirty="0"/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3020F807-D40C-16B3-D9FB-1BD5D7451DE3}"/>
              </a:ext>
            </a:extLst>
          </p:cNvPr>
          <p:cNvSpPr txBox="1"/>
          <p:nvPr/>
        </p:nvSpPr>
        <p:spPr>
          <a:xfrm>
            <a:off x="4070391" y="4386444"/>
            <a:ext cx="318090" cy="246221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en-US" altLang="zh-CN" sz="1000" dirty="0"/>
              <a:t>2</a:t>
            </a:r>
            <a:endParaRPr lang="zh-CN" altLang="en-US" sz="1000" dirty="0"/>
          </a:p>
        </p:txBody>
      </p:sp>
      <p:cxnSp>
        <p:nvCxnSpPr>
          <p:cNvPr id="34" name="直接箭头连接符 33"/>
          <p:cNvCxnSpPr/>
          <p:nvPr/>
        </p:nvCxnSpPr>
        <p:spPr>
          <a:xfrm>
            <a:off x="4439816" y="5013176"/>
            <a:ext cx="435111" cy="457935"/>
          </a:xfrm>
          <a:prstGeom prst="straightConnector1">
            <a:avLst/>
          </a:prstGeom>
          <a:ln w="3810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文本框 35"/>
          <p:cNvSpPr txBox="1"/>
          <p:nvPr/>
        </p:nvSpPr>
        <p:spPr>
          <a:xfrm rot="2984832">
            <a:off x="4545111" y="5021186"/>
            <a:ext cx="561372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altLang="zh-CN" sz="1050" b="1" dirty="0"/>
              <a:t>550</a:t>
            </a:r>
            <a:r>
              <a:rPr lang="zh-CN" altLang="en-US" sz="1050" b="1" dirty="0"/>
              <a:t>米</a:t>
            </a:r>
          </a:p>
        </p:txBody>
      </p:sp>
      <p:sp>
        <p:nvSpPr>
          <p:cNvPr id="37" name="文本框 36"/>
          <p:cNvSpPr txBox="1"/>
          <p:nvPr/>
        </p:nvSpPr>
        <p:spPr>
          <a:xfrm>
            <a:off x="4657272" y="5479407"/>
            <a:ext cx="881973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rgbClr val="92D050"/>
                </a:solidFill>
              </a:rPr>
              <a:t>海岸线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5FBEEC15-2414-AFDD-E009-6B09A413591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972" y="5733256"/>
            <a:ext cx="1363564" cy="1022673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0FCBF3DA-79AE-0B0B-5A8D-9EB7A5870F4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218" y="5722535"/>
            <a:ext cx="1383251" cy="1037438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16FB68E6-CAAF-915D-7C46-6BC2AFDE660E}"/>
              </a:ext>
            </a:extLst>
          </p:cNvPr>
          <p:cNvSpPr txBox="1"/>
          <p:nvPr/>
        </p:nvSpPr>
        <p:spPr>
          <a:xfrm>
            <a:off x="3194819" y="5894084"/>
            <a:ext cx="318090" cy="246221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en-US" altLang="zh-CN" sz="1000" dirty="0"/>
              <a:t>3</a:t>
            </a:r>
            <a:endParaRPr lang="zh-CN" altLang="en-US" sz="1000" dirty="0"/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5669BE83-44F3-BB93-8C6B-25C7850E5A75}"/>
              </a:ext>
            </a:extLst>
          </p:cNvPr>
          <p:cNvSpPr txBox="1"/>
          <p:nvPr/>
        </p:nvSpPr>
        <p:spPr>
          <a:xfrm>
            <a:off x="4145367" y="5722934"/>
            <a:ext cx="318090" cy="246221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en-US" altLang="zh-CN" sz="1000" dirty="0"/>
              <a:t>4</a:t>
            </a:r>
            <a:endParaRPr lang="zh-CN" altLang="en-US" sz="1000" dirty="0"/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969C39F6-789C-6908-B45A-612F3A8F5632}"/>
              </a:ext>
            </a:extLst>
          </p:cNvPr>
          <p:cNvSpPr txBox="1"/>
          <p:nvPr/>
        </p:nvSpPr>
        <p:spPr>
          <a:xfrm>
            <a:off x="8832304" y="4077072"/>
            <a:ext cx="823563" cy="2308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en-US" altLang="zh-CN" sz="900" dirty="0"/>
              <a:t>4</a:t>
            </a:r>
            <a:r>
              <a:rPr lang="zh-CN" altLang="en-US" sz="900" dirty="0"/>
              <a:t>号拍摄点</a:t>
            </a: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78CDEC47-ED4B-03F8-3567-9EEBF8A6F8B6}"/>
              </a:ext>
            </a:extLst>
          </p:cNvPr>
          <p:cNvSpPr txBox="1"/>
          <p:nvPr/>
        </p:nvSpPr>
        <p:spPr>
          <a:xfrm>
            <a:off x="9856022" y="6338654"/>
            <a:ext cx="829712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en-US" altLang="zh-CN" sz="900" dirty="0"/>
              <a:t>3</a:t>
            </a:r>
            <a:r>
              <a:rPr lang="zh-CN" altLang="en-US" sz="900" dirty="0"/>
              <a:t>号拍摄点</a:t>
            </a:r>
            <a:endParaRPr lang="en-US" altLang="zh-CN" sz="900" dirty="0"/>
          </a:p>
          <a:p>
            <a:r>
              <a:rPr lang="zh-CN" altLang="en-US" sz="900" dirty="0"/>
              <a:t>日月湾商业</a:t>
            </a: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2CAE38AB-EFCC-3841-43D6-BE401FD7A584}"/>
              </a:ext>
            </a:extLst>
          </p:cNvPr>
          <p:cNvSpPr txBox="1"/>
          <p:nvPr/>
        </p:nvSpPr>
        <p:spPr>
          <a:xfrm>
            <a:off x="8202646" y="2648672"/>
            <a:ext cx="1224137" cy="24622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zh-CN" altLang="en-US" sz="1000" b="1" dirty="0">
                <a:solidFill>
                  <a:srgbClr val="92D050"/>
                </a:solidFill>
              </a:rPr>
              <a:t>神州半岛成型住区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BDD30909-D5AC-A52D-CBA5-0D11538CE022}"/>
              </a:ext>
            </a:extLst>
          </p:cNvPr>
          <p:cNvSpPr txBox="1"/>
          <p:nvPr/>
        </p:nvSpPr>
        <p:spPr>
          <a:xfrm>
            <a:off x="5921857" y="2372772"/>
            <a:ext cx="1124026" cy="40011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zh-CN" altLang="en-US" sz="1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速出入口</a:t>
            </a:r>
            <a:endParaRPr lang="en-US" altLang="zh-CN" sz="1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兴隆互通距</a:t>
            </a:r>
            <a:r>
              <a:rPr lang="en-US" altLang="zh-CN" sz="1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KM</a:t>
            </a:r>
            <a:endParaRPr lang="zh-CN" altLang="en-US" sz="1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C5C5BB30-3D9A-D6E2-9698-2182A593522C}"/>
              </a:ext>
            </a:extLst>
          </p:cNvPr>
          <p:cNvSpPr txBox="1"/>
          <p:nvPr/>
        </p:nvSpPr>
        <p:spPr>
          <a:xfrm>
            <a:off x="1284437" y="5962072"/>
            <a:ext cx="825867" cy="40011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zh-CN" altLang="en-US" sz="1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速出入口</a:t>
            </a:r>
            <a:endParaRPr lang="en-US" altLang="zh-CN" sz="1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月湾互通</a:t>
            </a:r>
            <a:endParaRPr lang="en-US" altLang="zh-CN" sz="1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40DF345E-4327-17F8-6090-FD1B9F98DC29}"/>
              </a:ext>
            </a:extLst>
          </p:cNvPr>
          <p:cNvSpPr txBox="1"/>
          <p:nvPr/>
        </p:nvSpPr>
        <p:spPr>
          <a:xfrm rot="2984832">
            <a:off x="4955057" y="4648384"/>
            <a:ext cx="595035" cy="58477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zh-CN" altLang="en-US" sz="800" b="1" dirty="0"/>
              <a:t>下穿高速</a:t>
            </a:r>
            <a:endParaRPr lang="en-US" altLang="zh-CN" sz="800" b="1" dirty="0"/>
          </a:p>
          <a:p>
            <a:r>
              <a:rPr lang="zh-CN" altLang="en-US" sz="800" b="1" dirty="0"/>
              <a:t>涵洞人行</a:t>
            </a:r>
            <a:endParaRPr lang="en-US" altLang="zh-CN" sz="800" b="1" dirty="0"/>
          </a:p>
          <a:p>
            <a:r>
              <a:rPr lang="zh-CN" altLang="en-US" sz="800" b="1" dirty="0"/>
              <a:t>栈道至</a:t>
            </a:r>
            <a:endParaRPr lang="en-US" altLang="zh-CN" sz="800" b="1" dirty="0"/>
          </a:p>
          <a:p>
            <a:r>
              <a:rPr lang="zh-CN" altLang="en-US" sz="800" b="1" dirty="0"/>
              <a:t>冲浪沙滩</a:t>
            </a:r>
          </a:p>
        </p:txBody>
      </p:sp>
      <p:pic>
        <p:nvPicPr>
          <p:cNvPr id="45" name="图片 44">
            <a:extLst>
              <a:ext uri="{FF2B5EF4-FFF2-40B4-BE49-F238E27FC236}">
                <a16:creationId xmlns:a16="http://schemas.microsoft.com/office/drawing/2014/main" id="{4C0E724D-BB11-FBB4-B609-A1B737227DE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1755" y="3281543"/>
            <a:ext cx="1782398" cy="940857"/>
          </a:xfrm>
          <a:prstGeom prst="rect">
            <a:avLst/>
          </a:prstGeom>
        </p:spPr>
      </p:pic>
      <p:sp>
        <p:nvSpPr>
          <p:cNvPr id="46" name="文本框 45">
            <a:extLst>
              <a:ext uri="{FF2B5EF4-FFF2-40B4-BE49-F238E27FC236}">
                <a16:creationId xmlns:a16="http://schemas.microsoft.com/office/drawing/2014/main" id="{3357F85C-5AB5-3E7F-7DF8-231AB9AA3777}"/>
              </a:ext>
            </a:extLst>
          </p:cNvPr>
          <p:cNvSpPr txBox="1"/>
          <p:nvPr/>
        </p:nvSpPr>
        <p:spPr>
          <a:xfrm>
            <a:off x="2746681" y="6277099"/>
            <a:ext cx="286306" cy="246221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en-US" altLang="zh-CN" sz="1000" dirty="0"/>
              <a:t>5</a:t>
            </a:r>
            <a:endParaRPr lang="zh-CN" altLang="en-US" sz="1000" dirty="0"/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7987D487-D40A-1E7D-702E-2EDEBB63553A}"/>
              </a:ext>
            </a:extLst>
          </p:cNvPr>
          <p:cNvSpPr txBox="1"/>
          <p:nvPr/>
        </p:nvSpPr>
        <p:spPr>
          <a:xfrm>
            <a:off x="1129104" y="3282997"/>
            <a:ext cx="805049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00" dirty="0"/>
              <a:t>5</a:t>
            </a:r>
            <a:r>
              <a:rPr lang="zh-CN" altLang="en-US" sz="1000" dirty="0"/>
              <a:t>规划日月湾高铁站</a:t>
            </a: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43137174-B64B-3DD2-EEEF-54BE0D9F7265}"/>
              </a:ext>
            </a:extLst>
          </p:cNvPr>
          <p:cNvSpPr txBox="1"/>
          <p:nvPr/>
        </p:nvSpPr>
        <p:spPr>
          <a:xfrm>
            <a:off x="2815758" y="4905871"/>
            <a:ext cx="286306" cy="246221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en-US" altLang="zh-CN" sz="1000" dirty="0"/>
              <a:t>6</a:t>
            </a:r>
            <a:endParaRPr lang="zh-CN" altLang="en-US" sz="1000" dirty="0"/>
          </a:p>
        </p:txBody>
      </p:sp>
      <p:pic>
        <p:nvPicPr>
          <p:cNvPr id="50" name="图片 49">
            <a:extLst>
              <a:ext uri="{FF2B5EF4-FFF2-40B4-BE49-F238E27FC236}">
                <a16:creationId xmlns:a16="http://schemas.microsoft.com/office/drawing/2014/main" id="{853C75BC-C395-2120-A4BB-9CD32D8C64A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9336" y="4307903"/>
            <a:ext cx="1805321" cy="1114875"/>
          </a:xfrm>
          <a:prstGeom prst="rect">
            <a:avLst/>
          </a:prstGeom>
        </p:spPr>
      </p:pic>
      <p:pic>
        <p:nvPicPr>
          <p:cNvPr id="53" name="图片 52">
            <a:extLst>
              <a:ext uri="{FF2B5EF4-FFF2-40B4-BE49-F238E27FC236}">
                <a16:creationId xmlns:a16="http://schemas.microsoft.com/office/drawing/2014/main" id="{A0651E14-F6FB-852F-CC4C-835AF573678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76832" y="5528492"/>
            <a:ext cx="1042534" cy="810162"/>
          </a:xfrm>
          <a:prstGeom prst="rect">
            <a:avLst/>
          </a:prstGeom>
        </p:spPr>
      </p:pic>
      <p:sp>
        <p:nvSpPr>
          <p:cNvPr id="51" name="文本框 50">
            <a:extLst>
              <a:ext uri="{FF2B5EF4-FFF2-40B4-BE49-F238E27FC236}">
                <a16:creationId xmlns:a16="http://schemas.microsoft.com/office/drawing/2014/main" id="{3C252F06-C7F0-288A-B238-55678A2888AB}"/>
              </a:ext>
            </a:extLst>
          </p:cNvPr>
          <p:cNvSpPr txBox="1"/>
          <p:nvPr/>
        </p:nvSpPr>
        <p:spPr>
          <a:xfrm>
            <a:off x="1074070" y="5022743"/>
            <a:ext cx="805049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00" dirty="0"/>
              <a:t>6</a:t>
            </a:r>
            <a:r>
              <a:rPr lang="zh-CN" altLang="en-US" sz="1000" dirty="0"/>
              <a:t>规划中</a:t>
            </a:r>
            <a:endParaRPr lang="en-US" altLang="zh-CN" sz="1000" dirty="0"/>
          </a:p>
          <a:p>
            <a:pPr algn="ctr"/>
            <a:r>
              <a:rPr lang="zh-CN" altLang="en-US" sz="1000" dirty="0"/>
              <a:t>日月湾国家运动员</a:t>
            </a:r>
            <a:endParaRPr lang="en-US" altLang="zh-CN" sz="1000" dirty="0"/>
          </a:p>
          <a:p>
            <a:pPr algn="ctr"/>
            <a:r>
              <a:rPr lang="zh-CN" altLang="en-US" sz="1000" dirty="0"/>
              <a:t>冲浪小镇</a:t>
            </a:r>
          </a:p>
        </p:txBody>
      </p:sp>
      <p:sp>
        <p:nvSpPr>
          <p:cNvPr id="54" name="任意多边形: 形状 53">
            <a:extLst>
              <a:ext uri="{FF2B5EF4-FFF2-40B4-BE49-F238E27FC236}">
                <a16:creationId xmlns:a16="http://schemas.microsoft.com/office/drawing/2014/main" id="{883D7E69-B46E-8B6C-DDE0-39697E57AA92}"/>
              </a:ext>
            </a:extLst>
          </p:cNvPr>
          <p:cNvSpPr/>
          <p:nvPr/>
        </p:nvSpPr>
        <p:spPr>
          <a:xfrm>
            <a:off x="8163697" y="486032"/>
            <a:ext cx="675503" cy="378941"/>
          </a:xfrm>
          <a:custGeom>
            <a:avLst/>
            <a:gdLst>
              <a:gd name="connsiteX0" fmla="*/ 329514 w 675503"/>
              <a:gd name="connsiteY0" fmla="*/ 24714 h 378941"/>
              <a:gd name="connsiteX1" fmla="*/ 675503 w 675503"/>
              <a:gd name="connsiteY1" fmla="*/ 263611 h 378941"/>
              <a:gd name="connsiteX2" fmla="*/ 428368 w 675503"/>
              <a:gd name="connsiteY2" fmla="*/ 378941 h 378941"/>
              <a:gd name="connsiteX3" fmla="*/ 107092 w 675503"/>
              <a:gd name="connsiteY3" fmla="*/ 230660 h 378941"/>
              <a:gd name="connsiteX4" fmla="*/ 0 w 675503"/>
              <a:gd name="connsiteY4" fmla="*/ 49427 h 378941"/>
              <a:gd name="connsiteX5" fmla="*/ 181233 w 675503"/>
              <a:gd name="connsiteY5" fmla="*/ 0 h 378941"/>
              <a:gd name="connsiteX6" fmla="*/ 181233 w 675503"/>
              <a:gd name="connsiteY6" fmla="*/ 0 h 378941"/>
              <a:gd name="connsiteX7" fmla="*/ 609600 w 675503"/>
              <a:gd name="connsiteY7" fmla="*/ 181233 h 378941"/>
              <a:gd name="connsiteX8" fmla="*/ 123568 w 675503"/>
              <a:gd name="connsiteY8" fmla="*/ 214184 h 378941"/>
              <a:gd name="connsiteX9" fmla="*/ 107092 w 675503"/>
              <a:gd name="connsiteY9" fmla="*/ 222422 h 378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75503" h="378941">
                <a:moveTo>
                  <a:pt x="329514" y="24714"/>
                </a:moveTo>
                <a:lnTo>
                  <a:pt x="675503" y="263611"/>
                </a:lnTo>
                <a:lnTo>
                  <a:pt x="428368" y="378941"/>
                </a:lnTo>
                <a:lnTo>
                  <a:pt x="107092" y="230660"/>
                </a:lnTo>
                <a:lnTo>
                  <a:pt x="0" y="49427"/>
                </a:lnTo>
                <a:lnTo>
                  <a:pt x="181233" y="0"/>
                </a:lnTo>
                <a:lnTo>
                  <a:pt x="181233" y="0"/>
                </a:lnTo>
                <a:lnTo>
                  <a:pt x="609600" y="181233"/>
                </a:lnTo>
                <a:lnTo>
                  <a:pt x="123568" y="214184"/>
                </a:lnTo>
                <a:lnTo>
                  <a:pt x="107092" y="222422"/>
                </a:ln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任意多边形: 形状 56">
            <a:extLst>
              <a:ext uri="{FF2B5EF4-FFF2-40B4-BE49-F238E27FC236}">
                <a16:creationId xmlns:a16="http://schemas.microsoft.com/office/drawing/2014/main" id="{085BD379-66A5-3F14-8B58-559990F9360D}"/>
              </a:ext>
            </a:extLst>
          </p:cNvPr>
          <p:cNvSpPr/>
          <p:nvPr/>
        </p:nvSpPr>
        <p:spPr>
          <a:xfrm>
            <a:off x="2529016" y="4390768"/>
            <a:ext cx="947352" cy="1474573"/>
          </a:xfrm>
          <a:custGeom>
            <a:avLst/>
            <a:gdLst>
              <a:gd name="connsiteX0" fmla="*/ 49427 w 947352"/>
              <a:gd name="connsiteY0" fmla="*/ 98854 h 1474573"/>
              <a:gd name="connsiteX1" fmla="*/ 0 w 947352"/>
              <a:gd name="connsiteY1" fmla="*/ 271848 h 1474573"/>
              <a:gd name="connsiteX2" fmla="*/ 0 w 947352"/>
              <a:gd name="connsiteY2" fmla="*/ 420129 h 1474573"/>
              <a:gd name="connsiteX3" fmla="*/ 82379 w 947352"/>
              <a:gd name="connsiteY3" fmla="*/ 576648 h 1474573"/>
              <a:gd name="connsiteX4" fmla="*/ 313038 w 947352"/>
              <a:gd name="connsiteY4" fmla="*/ 996778 h 1474573"/>
              <a:gd name="connsiteX5" fmla="*/ 477795 w 947352"/>
              <a:gd name="connsiteY5" fmla="*/ 1252151 h 1474573"/>
              <a:gd name="connsiteX6" fmla="*/ 584887 w 947352"/>
              <a:gd name="connsiteY6" fmla="*/ 1334529 h 1474573"/>
              <a:gd name="connsiteX7" fmla="*/ 617838 w 947352"/>
              <a:gd name="connsiteY7" fmla="*/ 1433383 h 1474573"/>
              <a:gd name="connsiteX8" fmla="*/ 634314 w 947352"/>
              <a:gd name="connsiteY8" fmla="*/ 1474573 h 1474573"/>
              <a:gd name="connsiteX9" fmla="*/ 947352 w 947352"/>
              <a:gd name="connsiteY9" fmla="*/ 1285102 h 1474573"/>
              <a:gd name="connsiteX10" fmla="*/ 864973 w 947352"/>
              <a:gd name="connsiteY10" fmla="*/ 1153297 h 1474573"/>
              <a:gd name="connsiteX11" fmla="*/ 815546 w 947352"/>
              <a:gd name="connsiteY11" fmla="*/ 1095632 h 1474573"/>
              <a:gd name="connsiteX12" fmla="*/ 650789 w 947352"/>
              <a:gd name="connsiteY12" fmla="*/ 774356 h 1474573"/>
              <a:gd name="connsiteX13" fmla="*/ 617838 w 947352"/>
              <a:gd name="connsiteY13" fmla="*/ 683740 h 1474573"/>
              <a:gd name="connsiteX14" fmla="*/ 551935 w 947352"/>
              <a:gd name="connsiteY14" fmla="*/ 370702 h 1474573"/>
              <a:gd name="connsiteX15" fmla="*/ 650789 w 947352"/>
              <a:gd name="connsiteY15" fmla="*/ 263610 h 1474573"/>
              <a:gd name="connsiteX16" fmla="*/ 576649 w 947352"/>
              <a:gd name="connsiteY16" fmla="*/ 74140 h 1474573"/>
              <a:gd name="connsiteX17" fmla="*/ 543698 w 947352"/>
              <a:gd name="connsiteY17" fmla="*/ 32951 h 1474573"/>
              <a:gd name="connsiteX18" fmla="*/ 477795 w 947352"/>
              <a:gd name="connsiteY18" fmla="*/ 0 h 1474573"/>
              <a:gd name="connsiteX19" fmla="*/ 313038 w 947352"/>
              <a:gd name="connsiteY19" fmla="*/ 41189 h 1474573"/>
              <a:gd name="connsiteX20" fmla="*/ 148281 w 947352"/>
              <a:gd name="connsiteY20" fmla="*/ 49427 h 1474573"/>
              <a:gd name="connsiteX21" fmla="*/ 16476 w 947352"/>
              <a:gd name="connsiteY21" fmla="*/ 49427 h 1474573"/>
              <a:gd name="connsiteX22" fmla="*/ 65903 w 947352"/>
              <a:gd name="connsiteY22" fmla="*/ 156518 h 1474573"/>
              <a:gd name="connsiteX23" fmla="*/ 65903 w 947352"/>
              <a:gd name="connsiteY23" fmla="*/ 156518 h 147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47352" h="1474573">
                <a:moveTo>
                  <a:pt x="49427" y="98854"/>
                </a:moveTo>
                <a:lnTo>
                  <a:pt x="0" y="271848"/>
                </a:lnTo>
                <a:lnTo>
                  <a:pt x="0" y="420129"/>
                </a:lnTo>
                <a:lnTo>
                  <a:pt x="82379" y="576648"/>
                </a:lnTo>
                <a:lnTo>
                  <a:pt x="313038" y="996778"/>
                </a:lnTo>
                <a:lnTo>
                  <a:pt x="477795" y="1252151"/>
                </a:lnTo>
                <a:lnTo>
                  <a:pt x="584887" y="1334529"/>
                </a:lnTo>
                <a:lnTo>
                  <a:pt x="617838" y="1433383"/>
                </a:lnTo>
                <a:lnTo>
                  <a:pt x="634314" y="1474573"/>
                </a:lnTo>
                <a:lnTo>
                  <a:pt x="947352" y="1285102"/>
                </a:lnTo>
                <a:lnTo>
                  <a:pt x="864973" y="1153297"/>
                </a:lnTo>
                <a:lnTo>
                  <a:pt x="815546" y="1095632"/>
                </a:lnTo>
                <a:lnTo>
                  <a:pt x="650789" y="774356"/>
                </a:lnTo>
                <a:lnTo>
                  <a:pt x="617838" y="683740"/>
                </a:lnTo>
                <a:lnTo>
                  <a:pt x="551935" y="370702"/>
                </a:lnTo>
                <a:lnTo>
                  <a:pt x="650789" y="263610"/>
                </a:lnTo>
                <a:lnTo>
                  <a:pt x="576649" y="74140"/>
                </a:lnTo>
                <a:lnTo>
                  <a:pt x="543698" y="32951"/>
                </a:lnTo>
                <a:lnTo>
                  <a:pt x="477795" y="0"/>
                </a:lnTo>
                <a:lnTo>
                  <a:pt x="313038" y="41189"/>
                </a:lnTo>
                <a:lnTo>
                  <a:pt x="148281" y="49427"/>
                </a:lnTo>
                <a:lnTo>
                  <a:pt x="16476" y="49427"/>
                </a:lnTo>
                <a:lnTo>
                  <a:pt x="65903" y="156518"/>
                </a:lnTo>
                <a:lnTo>
                  <a:pt x="65903" y="156518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379000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1">
            <a:extLst>
              <a:ext uri="{FF2B5EF4-FFF2-40B4-BE49-F238E27FC236}">
                <a16:creationId xmlns:a16="http://schemas.microsoft.com/office/drawing/2014/main" id="{CF8CF0B7-604C-6DF0-0A80-0459790B2CAB}"/>
              </a:ext>
            </a:extLst>
          </p:cNvPr>
          <p:cNvSpPr/>
          <p:nvPr/>
        </p:nvSpPr>
        <p:spPr>
          <a:xfrm>
            <a:off x="0" y="1"/>
            <a:ext cx="12537066" cy="6857999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477694" y="633973"/>
            <a:ext cx="7776542" cy="40927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边现状</a:t>
            </a: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17F4B528-BA81-4C69-A2DC-6A2C3912920D}"/>
              </a:ext>
            </a:extLst>
          </p:cNvPr>
          <p:cNvSpPr txBox="1"/>
          <p:nvPr/>
        </p:nvSpPr>
        <p:spPr>
          <a:xfrm>
            <a:off x="6528048" y="1311660"/>
            <a:ext cx="5954961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100" b="1" dirty="0">
                <a:latin typeface="幼圆" panose="02010509060101010101" pitchFamily="49" charset="-122"/>
                <a:ea typeface="幼圆" panose="02010509060101010101" pitchFamily="49" charset="-122"/>
              </a:rPr>
              <a:t>1</a:t>
            </a:r>
            <a:r>
              <a:rPr lang="zh-CN" altLang="en-US" sz="1100" b="1" dirty="0">
                <a:latin typeface="幼圆" panose="02010509060101010101" pitchFamily="49" charset="-122"/>
                <a:ea typeface="幼圆" panose="02010509060101010101" pitchFamily="49" charset="-122"/>
              </a:rPr>
              <a:t>、地块现状建设概况</a:t>
            </a:r>
            <a:endParaRPr lang="en-US" altLang="zh-CN" sz="1100" b="1" dirty="0">
              <a:latin typeface="幼圆" panose="02010509060101010101" pitchFamily="49" charset="-122"/>
              <a:ea typeface="幼圆" panose="02010509060101010101" pitchFamily="49" charset="-122"/>
            </a:endParaRPr>
          </a:p>
          <a:p>
            <a:r>
              <a:rPr lang="en-US" altLang="zh-CN" sz="1100" b="1" dirty="0">
                <a:latin typeface="幼圆" panose="02010509060101010101" pitchFamily="49" charset="-122"/>
                <a:ea typeface="幼圆" panose="02010509060101010101" pitchFamily="49" charset="-122"/>
              </a:rPr>
              <a:t>   </a:t>
            </a:r>
            <a:r>
              <a:rPr lang="zh-CN" altLang="en-US" sz="1100" dirty="0">
                <a:latin typeface="幼圆" panose="02010509060101010101" pitchFamily="49" charset="-122"/>
                <a:ea typeface="幼圆" panose="02010509060101010101" pitchFamily="49" charset="-122"/>
              </a:rPr>
              <a:t>项目地块由大量植被覆盖，多为槟榔树，背山靠海，生态环境十分优越，场地内无建筑物。</a:t>
            </a:r>
            <a:endParaRPr lang="en-US" altLang="zh-CN" sz="1100" dirty="0">
              <a:latin typeface="幼圆" panose="02010509060101010101" pitchFamily="49" charset="-122"/>
              <a:ea typeface="幼圆" panose="02010509060101010101" pitchFamily="49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3055" y="3309826"/>
            <a:ext cx="3603920" cy="349976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7694" y="1311660"/>
            <a:ext cx="2736304" cy="1945464"/>
          </a:xfrm>
          <a:prstGeom prst="rect">
            <a:avLst/>
          </a:prstGeom>
          <a:ln w="1905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02343" y="1311660"/>
            <a:ext cx="2725224" cy="1945464"/>
          </a:xfrm>
          <a:prstGeom prst="rect">
            <a:avLst/>
          </a:prstGeom>
          <a:ln w="1905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01513" y="5158625"/>
            <a:ext cx="2226054" cy="1669694"/>
          </a:xfrm>
          <a:prstGeom prst="rect">
            <a:avLst/>
          </a:prstGeom>
          <a:ln w="1905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51" name="文本框 50">
            <a:extLst>
              <a:ext uri="{FF2B5EF4-FFF2-40B4-BE49-F238E27FC236}">
                <a16:creationId xmlns:a16="http://schemas.microsoft.com/office/drawing/2014/main" id="{17F4B528-BA81-4C69-A2DC-6A2C3912920D}"/>
              </a:ext>
            </a:extLst>
          </p:cNvPr>
          <p:cNvSpPr txBox="1"/>
          <p:nvPr/>
        </p:nvSpPr>
        <p:spPr>
          <a:xfrm>
            <a:off x="6582104" y="2132856"/>
            <a:ext cx="5900905" cy="2263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周边道路</a:t>
            </a:r>
            <a:endParaRPr lang="en-US" altLang="zh-CN" sz="11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项目地块南侧有东线高速公路（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G98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，红线宽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3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米，双向四车道，道路横断面形式为：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25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米（路肩）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+7.5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米（机动车道）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+1.5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米（中央隔离带）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+7.5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米（机动车道）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+3.25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米（路肩）。</a:t>
            </a:r>
            <a:endParaRPr lang="en-US" altLang="zh-CN" sz="11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场地外围有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5m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宽的环形土路，地块南侧有一处人行下山道</a:t>
            </a:r>
            <a:r>
              <a:rPr lang="zh-CN" altLang="en-US" sz="11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高速下穿涵洞）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可通过下山道直接步行穿过高速公路到达海边青皮林自然保护区。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场地外交通可通过地块南侧规划的市政道路（规划红线宽度为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m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连接至石梅湾互通</a:t>
            </a:r>
            <a:r>
              <a:rPr lang="zh-CN" altLang="en-US" sz="11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高速出入口）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及日月湾互通</a:t>
            </a:r>
            <a:r>
              <a:rPr lang="zh-CN" altLang="en-US" sz="11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高速出入口）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与外部联系。现由于石梅湾基础设施配备较为完善，场地对外交通可着重考虑通过石梅湾互通对外联系。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6E4FDE3E-2F33-3E06-67F7-F9048A78A84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4377" y="4395911"/>
            <a:ext cx="3216976" cy="2413675"/>
          </a:xfrm>
          <a:prstGeom prst="rect">
            <a:avLst/>
          </a:prstGeom>
        </p:spPr>
      </p:pic>
      <p:sp>
        <p:nvSpPr>
          <p:cNvPr id="11" name="Rectangle 73">
            <a:extLst>
              <a:ext uri="{FF2B5EF4-FFF2-40B4-BE49-F238E27FC236}">
                <a16:creationId xmlns:a16="http://schemas.microsoft.com/office/drawing/2014/main" id="{CD9D076A-DF96-7F86-C4E7-2938CC8514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8150" y="5778252"/>
            <a:ext cx="1671842" cy="439929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</a:ln>
          <a:effectLst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穿高速涵洞通往海边</a:t>
            </a:r>
            <a:endParaRPr lang="en-US" altLang="zh-CN" sz="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涵洞至海岸线约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-200</a:t>
            </a:r>
            <a:r>
              <a:rPr lang="zh-CN" altLang="en-US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米</a:t>
            </a:r>
            <a:endParaRPr lang="en-US" altLang="zh-CN" sz="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3FFFC8D2-81B2-788D-84EE-8C4D9045A4B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6121" y="3300054"/>
            <a:ext cx="1031768" cy="1809612"/>
          </a:xfrm>
          <a:prstGeom prst="rect">
            <a:avLst/>
          </a:prstGeom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id="{E0B99C58-889E-E2B7-56CE-260C06CCD9A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6474" y="3294982"/>
            <a:ext cx="1033948" cy="1809612"/>
          </a:xfrm>
          <a:prstGeom prst="rect">
            <a:avLst/>
          </a:prstGeom>
        </p:spPr>
      </p:pic>
      <p:sp>
        <p:nvSpPr>
          <p:cNvPr id="20" name="椭圆 19">
            <a:extLst>
              <a:ext uri="{FF2B5EF4-FFF2-40B4-BE49-F238E27FC236}">
                <a16:creationId xmlns:a16="http://schemas.microsoft.com/office/drawing/2014/main" id="{547E9F34-5C30-CA62-3A47-BAC60BD76CDA}"/>
              </a:ext>
            </a:extLst>
          </p:cNvPr>
          <p:cNvSpPr/>
          <p:nvPr/>
        </p:nvSpPr>
        <p:spPr>
          <a:xfrm>
            <a:off x="4897955" y="3306083"/>
            <a:ext cx="399716" cy="349325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3</a:t>
            </a:r>
            <a:endParaRPr lang="zh-CN" altLang="en-US" dirty="0"/>
          </a:p>
        </p:txBody>
      </p: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86B2DC31-93E0-F91C-7A27-A4B7D0347BE1}"/>
              </a:ext>
            </a:extLst>
          </p:cNvPr>
          <p:cNvCxnSpPr>
            <a:cxnSpLocks/>
          </p:cNvCxnSpPr>
          <p:nvPr/>
        </p:nvCxnSpPr>
        <p:spPr>
          <a:xfrm>
            <a:off x="2114478" y="5649522"/>
            <a:ext cx="525138" cy="51578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文本框 22">
            <a:extLst>
              <a:ext uri="{FF2B5EF4-FFF2-40B4-BE49-F238E27FC236}">
                <a16:creationId xmlns:a16="http://schemas.microsoft.com/office/drawing/2014/main" id="{D3E9BC11-40E6-F3A4-A347-5394CB76BA88}"/>
              </a:ext>
            </a:extLst>
          </p:cNvPr>
          <p:cNvSpPr txBox="1"/>
          <p:nvPr/>
        </p:nvSpPr>
        <p:spPr>
          <a:xfrm rot="18861452">
            <a:off x="1652452" y="5785977"/>
            <a:ext cx="1557981" cy="338554"/>
          </a:xfrm>
          <a:prstGeom prst="rect">
            <a:avLst/>
          </a:prstGeom>
          <a:solidFill>
            <a:schemeClr val="accent2">
              <a:alpha val="72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sz="800" b="1" dirty="0">
                <a:solidFill>
                  <a:schemeClr val="bg1"/>
                </a:solidFill>
              </a:rPr>
              <a:t>下穿高速路涵洞通往海边</a:t>
            </a:r>
            <a:endParaRPr lang="en-US" altLang="zh-CN" sz="800" b="1" dirty="0">
              <a:solidFill>
                <a:schemeClr val="bg1"/>
              </a:solidFill>
            </a:endParaRPr>
          </a:p>
          <a:p>
            <a:pPr algn="ctr"/>
            <a:r>
              <a:rPr lang="zh-CN" altLang="en-US" sz="800" b="1" dirty="0">
                <a:solidFill>
                  <a:schemeClr val="bg1"/>
                </a:solidFill>
              </a:rPr>
              <a:t>人行栈道（需修整）</a:t>
            </a:r>
          </a:p>
        </p:txBody>
      </p:sp>
      <p:sp>
        <p:nvSpPr>
          <p:cNvPr id="25" name="箭头: 右 24">
            <a:extLst>
              <a:ext uri="{FF2B5EF4-FFF2-40B4-BE49-F238E27FC236}">
                <a16:creationId xmlns:a16="http://schemas.microsoft.com/office/drawing/2014/main" id="{D996EE9F-309C-BE82-8169-860D1A8B0580}"/>
              </a:ext>
            </a:extLst>
          </p:cNvPr>
          <p:cNvSpPr/>
          <p:nvPr/>
        </p:nvSpPr>
        <p:spPr>
          <a:xfrm rot="2494588">
            <a:off x="2543458" y="6098844"/>
            <a:ext cx="168166" cy="115551"/>
          </a:xfrm>
          <a:prstGeom prst="rightArrow">
            <a:avLst/>
          </a:prstGeom>
          <a:solidFill>
            <a:srgbClr val="C0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箭头: 右 25">
            <a:extLst>
              <a:ext uri="{FF2B5EF4-FFF2-40B4-BE49-F238E27FC236}">
                <a16:creationId xmlns:a16="http://schemas.microsoft.com/office/drawing/2014/main" id="{2DBF3F91-4974-41E5-06AF-A5A1FA93464F}"/>
              </a:ext>
            </a:extLst>
          </p:cNvPr>
          <p:cNvSpPr/>
          <p:nvPr/>
        </p:nvSpPr>
        <p:spPr>
          <a:xfrm rot="2494588">
            <a:off x="2166260" y="5720477"/>
            <a:ext cx="168166" cy="115551"/>
          </a:xfrm>
          <a:prstGeom prst="rightArrow">
            <a:avLst/>
          </a:prstGeom>
          <a:solidFill>
            <a:srgbClr val="C0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椭圆 26">
            <a:extLst>
              <a:ext uri="{FF2B5EF4-FFF2-40B4-BE49-F238E27FC236}">
                <a16:creationId xmlns:a16="http://schemas.microsoft.com/office/drawing/2014/main" id="{9A2AE80A-3B01-8773-9476-0E7FE77B2287}"/>
              </a:ext>
            </a:extLst>
          </p:cNvPr>
          <p:cNvSpPr/>
          <p:nvPr/>
        </p:nvSpPr>
        <p:spPr>
          <a:xfrm>
            <a:off x="6413155" y="6165304"/>
            <a:ext cx="661832" cy="55942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4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327706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1">
            <a:extLst>
              <a:ext uri="{FF2B5EF4-FFF2-40B4-BE49-F238E27FC236}">
                <a16:creationId xmlns:a16="http://schemas.microsoft.com/office/drawing/2014/main" id="{7184C15C-163C-B52B-5C79-DEA0987C4226}"/>
              </a:ext>
            </a:extLst>
          </p:cNvPr>
          <p:cNvSpPr/>
          <p:nvPr/>
        </p:nvSpPr>
        <p:spPr>
          <a:xfrm>
            <a:off x="0" y="1"/>
            <a:ext cx="12537066" cy="6857999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dirty="0"/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335682" y="548680"/>
            <a:ext cx="7776542" cy="88178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 altLang="en-US" sz="2000" b="1" dirty="0">
                <a:solidFill>
                  <a:srgbClr val="C0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土地供求</a:t>
            </a:r>
            <a:endParaRPr lang="zh-CN" altLang="en-US" sz="2000" dirty="0">
              <a:solidFill>
                <a:srgbClr val="AF1E23"/>
              </a:solidFill>
              <a:latin typeface="IVJVJH+MicrosoftYaHei-Bold"/>
              <a:cs typeface="IVJVJH+MicrosoftYaHei-Bold"/>
            </a:endParaRPr>
          </a:p>
          <a:p>
            <a:pPr>
              <a:lnSpc>
                <a:spcPct val="150000"/>
              </a:lnSpc>
              <a:defRPr/>
            </a:pPr>
            <a:endParaRPr lang="zh-CN" altLang="en-US" sz="2000" b="1" dirty="0">
              <a:solidFill>
                <a:srgbClr val="C00000"/>
              </a:solidFill>
              <a:highlight>
                <a:srgbClr val="FFFF00"/>
              </a:highlight>
              <a:latin typeface="幼圆" panose="02010509060101010101" pitchFamily="49" charset="-122"/>
              <a:ea typeface="幼圆" panose="02010509060101010101" pitchFamily="49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263352" y="1010345"/>
            <a:ext cx="12273714" cy="8744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8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PRSDQ+MicrosoftYaHei-Bold"/>
              </a:rPr>
              <a:t>2022</a:t>
            </a:r>
            <a:r>
              <a:rPr lang="zh-CN" altLang="en-US" sz="18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PRSDQ+MicrosoftYaHei-Bold"/>
              </a:rPr>
              <a:t>年</a:t>
            </a:r>
            <a:r>
              <a:rPr lang="en-US" altLang="zh-CN" sz="18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PRSDQ+MicrosoftYaHei-Bold"/>
              </a:rPr>
              <a:t>1-10</a:t>
            </a:r>
            <a:r>
              <a:rPr lang="zh-CN" altLang="en-US" sz="18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PRSDQ+MicrosoftYaHei-Bold"/>
              </a:rPr>
              <a:t>月万宁累计供应</a:t>
            </a:r>
            <a:r>
              <a:rPr lang="en-US" altLang="zh-CN" sz="18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PRSDQ+MicrosoftYaHei-Bold"/>
              </a:rPr>
              <a:t>21</a:t>
            </a:r>
            <a:r>
              <a:rPr lang="zh-CN" altLang="en-US" sz="18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PRSDQ+MicrosoftYaHei-Bold"/>
              </a:rPr>
              <a:t>宗用地，占地面积合计为</a:t>
            </a:r>
            <a:r>
              <a:rPr lang="en-US" altLang="zh-CN" sz="18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PRSDQ+MicrosoftYaHei-Bold"/>
              </a:rPr>
              <a:t>773.00</a:t>
            </a:r>
            <a:r>
              <a:rPr lang="zh-CN" altLang="en-US" sz="18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PRSDQ+MicrosoftYaHei-Bold"/>
              </a:rPr>
              <a:t>亩，建</a:t>
            </a:r>
            <a:r>
              <a:rPr lang="zh-CN" altLang="en-US" sz="18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RSDVAF+MicrosoftYaHei-Bold"/>
              </a:rPr>
              <a:t>筑</a:t>
            </a:r>
            <a:r>
              <a:rPr lang="zh-CN" altLang="en-US" sz="18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PRSDQ+MicrosoftYaHei-Bold"/>
              </a:rPr>
              <a:t>面积合计为</a:t>
            </a:r>
            <a:r>
              <a:rPr lang="en-US" altLang="zh-CN" sz="18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PRSDQ+MicrosoftYaHei-Bold"/>
              </a:rPr>
              <a:t>80.59</a:t>
            </a:r>
            <a:r>
              <a:rPr lang="zh-CN" altLang="en-US" sz="18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PRSDQ+MicrosoftYaHei-Bold"/>
              </a:rPr>
              <a:t>万㎡；成交</a:t>
            </a:r>
            <a:r>
              <a:rPr lang="en-US" altLang="zh-CN" sz="18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PRSDQ+MicrosoftYaHei-Bold"/>
              </a:rPr>
              <a:t>16</a:t>
            </a:r>
            <a:r>
              <a:rPr lang="zh-CN" altLang="en-US" sz="18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PRSDQ+MicrosoftYaHei-Bold"/>
              </a:rPr>
              <a:t>宗用地</a:t>
            </a:r>
            <a:endParaRPr lang="zh-CN" altLang="en-US" b="1" dirty="0">
              <a:latin typeface="幼圆" panose="02010509060101010101" pitchFamily="49" charset="-122"/>
              <a:ea typeface="幼圆" panose="02010509060101010101" pitchFamily="49" charset="-122"/>
            </a:endParaRPr>
          </a:p>
          <a:p>
            <a:pPr>
              <a:lnSpc>
                <a:spcPct val="150000"/>
              </a:lnSpc>
            </a:pPr>
            <a:endParaRPr lang="zh-CN" altLang="en-US" b="1" dirty="0">
              <a:latin typeface="幼圆" panose="02010509060101010101" pitchFamily="49" charset="-122"/>
              <a:ea typeface="幼圆" panose="02010509060101010101" pitchFamily="49" charset="-122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815B0F23-FE17-7E4F-9E79-3CD206E669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360" y="1490472"/>
            <a:ext cx="8116313" cy="5038145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407368" y="4653136"/>
            <a:ext cx="7992888" cy="402138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EF307D13-FF62-EBCB-9F61-1939D39604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51673" y="1490472"/>
            <a:ext cx="3823647" cy="503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2185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1">
            <a:extLst>
              <a:ext uri="{FF2B5EF4-FFF2-40B4-BE49-F238E27FC236}">
                <a16:creationId xmlns:a16="http://schemas.microsoft.com/office/drawing/2014/main" id="{7184C15C-163C-B52B-5C79-DEA0987C4226}"/>
              </a:ext>
            </a:extLst>
          </p:cNvPr>
          <p:cNvSpPr/>
          <p:nvPr/>
        </p:nvSpPr>
        <p:spPr>
          <a:xfrm>
            <a:off x="0" y="1"/>
            <a:ext cx="12537066" cy="6857999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dirty="0"/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63352" y="548680"/>
            <a:ext cx="7776542" cy="4616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 altLang="en-US" sz="2000" b="1" dirty="0">
                <a:solidFill>
                  <a:srgbClr val="C0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商品房排行榜</a:t>
            </a:r>
            <a:endParaRPr lang="zh-CN" altLang="en-US" sz="2000" b="1" dirty="0">
              <a:solidFill>
                <a:srgbClr val="C00000"/>
              </a:solidFill>
              <a:highlight>
                <a:srgbClr val="FFFF00"/>
              </a:highlight>
              <a:latin typeface="幼圆" panose="02010509060101010101" pitchFamily="49" charset="-122"/>
              <a:ea typeface="幼圆" panose="02010509060101010101" pitchFamily="49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263352" y="1010345"/>
            <a:ext cx="12273714" cy="1705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latin typeface="幼圆" panose="02010509060101010101" pitchFamily="49" charset="-122"/>
                <a:ea typeface="幼圆" panose="02010509060101010101" pitchFamily="49" charset="-122"/>
              </a:rPr>
              <a:t>2022</a:t>
            </a:r>
            <a:r>
              <a:rPr lang="zh-CN" altLang="en-US" b="1" dirty="0">
                <a:latin typeface="幼圆" panose="02010509060101010101" pitchFamily="49" charset="-122"/>
                <a:ea typeface="幼圆" panose="02010509060101010101" pitchFamily="49" charset="-122"/>
              </a:rPr>
              <a:t>年</a:t>
            </a:r>
            <a:r>
              <a:rPr lang="en-US" altLang="zh-CN" b="1" dirty="0">
                <a:latin typeface="幼圆" panose="02010509060101010101" pitchFamily="49" charset="-122"/>
                <a:ea typeface="幼圆" panose="02010509060101010101" pitchFamily="49" charset="-122"/>
              </a:rPr>
              <a:t>1-10</a:t>
            </a:r>
            <a:r>
              <a:rPr lang="zh-CN" altLang="en-US" b="1" dirty="0">
                <a:latin typeface="幼圆" panose="02010509060101010101" pitchFamily="49" charset="-122"/>
                <a:ea typeface="幼圆" panose="02010509060101010101" pitchFamily="49" charset="-122"/>
              </a:rPr>
              <a:t>月，</a:t>
            </a:r>
            <a:r>
              <a:rPr lang="en-US" altLang="zh-CN" b="1" dirty="0">
                <a:latin typeface="幼圆" panose="02010509060101010101" pitchFamily="49" charset="-122"/>
                <a:ea typeface="幼圆" panose="02010509060101010101" pitchFamily="49" charset="-122"/>
              </a:rPr>
              <a:t>TOP10</a:t>
            </a:r>
            <a:r>
              <a:rPr lang="zh-CN" altLang="en-US" b="1" dirty="0">
                <a:latin typeface="幼圆" panose="02010509060101010101" pitchFamily="49" charset="-122"/>
                <a:ea typeface="幼圆" panose="02010509060101010101" pitchFamily="49" charset="-122"/>
              </a:rPr>
              <a:t>项目合计备案</a:t>
            </a:r>
            <a:r>
              <a:rPr lang="en-US" altLang="zh-CN" b="1" dirty="0">
                <a:latin typeface="幼圆" panose="02010509060101010101" pitchFamily="49" charset="-122"/>
                <a:ea typeface="幼圆" panose="02010509060101010101" pitchFamily="49" charset="-122"/>
              </a:rPr>
              <a:t>19.12</a:t>
            </a:r>
            <a:r>
              <a:rPr lang="zh-CN" altLang="en-US" b="1" dirty="0">
                <a:latin typeface="幼圆" panose="02010509060101010101" pitchFamily="49" charset="-122"/>
                <a:ea typeface="幼圆" panose="02010509060101010101" pitchFamily="49" charset="-122"/>
              </a:rPr>
              <a:t>万㎡，合计金额</a:t>
            </a:r>
            <a:r>
              <a:rPr lang="en-US" altLang="zh-CN" b="1" dirty="0">
                <a:latin typeface="幼圆" panose="02010509060101010101" pitchFamily="49" charset="-122"/>
                <a:ea typeface="幼圆" panose="02010509060101010101" pitchFamily="49" charset="-122"/>
              </a:rPr>
              <a:t>38.76</a:t>
            </a:r>
            <a:r>
              <a:rPr lang="zh-CN" altLang="en-US" b="1" dirty="0">
                <a:latin typeface="幼圆" panose="02010509060101010101" pitchFamily="49" charset="-122"/>
                <a:ea typeface="幼圆" panose="02010509060101010101" pitchFamily="49" charset="-122"/>
              </a:rPr>
              <a:t>亿元，</a:t>
            </a:r>
            <a:r>
              <a:rPr lang="zh-CN" altLang="en-US" b="1" dirty="0">
                <a:solidFill>
                  <a:srgbClr val="FF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中海神州半岛</a:t>
            </a:r>
            <a:r>
              <a:rPr lang="zh-CN" altLang="en-US" b="1" dirty="0">
                <a:latin typeface="幼圆" panose="02010509060101010101" pitchFamily="49" charset="-122"/>
                <a:ea typeface="幼圆" panose="02010509060101010101" pitchFamily="49" charset="-122"/>
              </a:rPr>
              <a:t>以</a:t>
            </a:r>
            <a:r>
              <a:rPr lang="en-US" altLang="zh-CN" b="1" dirty="0">
                <a:latin typeface="幼圆" panose="02010509060101010101" pitchFamily="49" charset="-122"/>
                <a:ea typeface="幼圆" panose="02010509060101010101" pitchFamily="49" charset="-122"/>
              </a:rPr>
              <a:t>6.18</a:t>
            </a:r>
            <a:r>
              <a:rPr lang="zh-CN" altLang="en-US" b="1" dirty="0">
                <a:latin typeface="幼圆" panose="02010509060101010101" pitchFamily="49" charset="-122"/>
                <a:ea typeface="幼圆" panose="02010509060101010101" pitchFamily="49" charset="-122"/>
              </a:rPr>
              <a:t>万㎡占据榜首，成交</a:t>
            </a:r>
            <a:r>
              <a:rPr lang="en-US" altLang="zh-CN" b="1" dirty="0">
                <a:latin typeface="幼圆" panose="02010509060101010101" pitchFamily="49" charset="-122"/>
                <a:ea typeface="幼圆" panose="02010509060101010101" pitchFamily="49" charset="-122"/>
              </a:rPr>
              <a:t>13.01</a:t>
            </a:r>
            <a:r>
              <a:rPr lang="zh-CN" altLang="en-US" b="1" dirty="0">
                <a:latin typeface="幼圆" panose="02010509060101010101" pitchFamily="49" charset="-122"/>
                <a:ea typeface="幼圆" panose="02010509060101010101" pitchFamily="49" charset="-122"/>
              </a:rPr>
              <a:t>亿元。非商品住宅备案面积</a:t>
            </a:r>
            <a:r>
              <a:rPr lang="en-US" altLang="zh-CN" b="1" dirty="0">
                <a:latin typeface="幼圆" panose="02010509060101010101" pitchFamily="49" charset="-122"/>
                <a:ea typeface="幼圆" panose="02010509060101010101" pitchFamily="49" charset="-122"/>
              </a:rPr>
              <a:t>TOP10</a:t>
            </a:r>
            <a:r>
              <a:rPr lang="zh-CN" altLang="en-US" b="1" dirty="0">
                <a:latin typeface="幼圆" panose="02010509060101010101" pitchFamily="49" charset="-122"/>
                <a:ea typeface="幼圆" panose="02010509060101010101" pitchFamily="49" charset="-122"/>
              </a:rPr>
              <a:t>合计为</a:t>
            </a:r>
            <a:r>
              <a:rPr lang="en-US" altLang="zh-CN" b="1" dirty="0">
                <a:latin typeface="幼圆" panose="02010509060101010101" pitchFamily="49" charset="-122"/>
                <a:ea typeface="幼圆" panose="02010509060101010101" pitchFamily="49" charset="-122"/>
              </a:rPr>
              <a:t>4.19</a:t>
            </a:r>
            <a:r>
              <a:rPr lang="zh-CN" altLang="en-US" b="1" dirty="0">
                <a:latin typeface="幼圆" panose="02010509060101010101" pitchFamily="49" charset="-122"/>
                <a:ea typeface="幼圆" panose="02010509060101010101" pitchFamily="49" charset="-122"/>
              </a:rPr>
              <a:t>万㎡，成交金额合计</a:t>
            </a:r>
            <a:r>
              <a:rPr lang="en-US" altLang="zh-CN" b="1" dirty="0">
                <a:latin typeface="幼圆" panose="02010509060101010101" pitchFamily="49" charset="-122"/>
                <a:ea typeface="幼圆" panose="02010509060101010101" pitchFamily="49" charset="-122"/>
              </a:rPr>
              <a:t>6.87</a:t>
            </a:r>
            <a:r>
              <a:rPr lang="zh-CN" altLang="en-US" b="1" dirty="0">
                <a:latin typeface="幼圆" panose="02010509060101010101" pitchFamily="49" charset="-122"/>
                <a:ea typeface="幼圆" panose="02010509060101010101" pitchFamily="49" charset="-122"/>
              </a:rPr>
              <a:t>亿元，</a:t>
            </a:r>
            <a:r>
              <a:rPr lang="zh-CN" altLang="en-US" b="1" dirty="0">
                <a:solidFill>
                  <a:srgbClr val="FF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融创日月湾</a:t>
            </a:r>
            <a:r>
              <a:rPr lang="zh-CN" altLang="en-US" b="1" dirty="0">
                <a:latin typeface="幼圆" panose="02010509060101010101" pitchFamily="49" charset="-122"/>
                <a:ea typeface="幼圆" panose="02010509060101010101" pitchFamily="49" charset="-122"/>
              </a:rPr>
              <a:t>以</a:t>
            </a:r>
            <a:r>
              <a:rPr lang="en-US" altLang="zh-CN" b="1" dirty="0">
                <a:latin typeface="幼圆" panose="02010509060101010101" pitchFamily="49" charset="-122"/>
                <a:ea typeface="幼圆" panose="02010509060101010101" pitchFamily="49" charset="-122"/>
              </a:rPr>
              <a:t>1.48</a:t>
            </a:r>
            <a:r>
              <a:rPr lang="zh-CN" altLang="en-US" b="1" dirty="0">
                <a:latin typeface="幼圆" panose="02010509060101010101" pitchFamily="49" charset="-122"/>
                <a:ea typeface="幼圆" panose="02010509060101010101" pitchFamily="49" charset="-122"/>
              </a:rPr>
              <a:t>万㎡的备案面积位居榜首</a:t>
            </a:r>
          </a:p>
          <a:p>
            <a:pPr>
              <a:lnSpc>
                <a:spcPct val="150000"/>
              </a:lnSpc>
            </a:pPr>
            <a:endParaRPr lang="zh-CN" altLang="en-US" b="1" dirty="0">
              <a:latin typeface="幼圆" panose="02010509060101010101" pitchFamily="49" charset="-122"/>
              <a:ea typeface="幼圆" panose="02010509060101010101" pitchFamily="49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3"/>
          <a:srcRect l="50224" t="16852" r="2368" b="3704"/>
          <a:stretch/>
        </p:blipFill>
        <p:spPr>
          <a:xfrm>
            <a:off x="6184482" y="1970483"/>
            <a:ext cx="5976664" cy="4752528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D43D5499-1BEE-90AC-A543-EDC02DDD8C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88939" y="1859335"/>
            <a:ext cx="3720922" cy="522846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8D75A5DD-040C-775E-0E9A-E2C40301A0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51557" y="2340169"/>
            <a:ext cx="5892569" cy="4517829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6337522" y="3140968"/>
            <a:ext cx="5735142" cy="360040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7B893FCC-78E2-2C1F-1BAB-5AD261AD8A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43642" y="1970483"/>
            <a:ext cx="3848901" cy="333414"/>
          </a:xfrm>
          <a:prstGeom prst="rect">
            <a:avLst/>
          </a:prstGeom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id="{3B6AED89-DEA6-D69A-D0CB-D63595DEB4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7584" y="2377113"/>
            <a:ext cx="5587520" cy="4497391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695400" y="3198163"/>
            <a:ext cx="5472608" cy="302845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627260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1">
            <a:extLst>
              <a:ext uri="{FF2B5EF4-FFF2-40B4-BE49-F238E27FC236}">
                <a16:creationId xmlns:a16="http://schemas.microsoft.com/office/drawing/2014/main" id="{CDA4983B-9C84-CFE9-E7C1-171D0DFD5DD9}"/>
              </a:ext>
            </a:extLst>
          </p:cNvPr>
          <p:cNvSpPr/>
          <p:nvPr/>
        </p:nvSpPr>
        <p:spPr>
          <a:xfrm>
            <a:off x="0" y="1"/>
            <a:ext cx="12537066" cy="6857999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7" name="TextBox 5"/>
          <p:cNvSpPr txBox="1">
            <a:spLocks noChangeArrowheads="1"/>
          </p:cNvSpPr>
          <p:nvPr/>
        </p:nvSpPr>
        <p:spPr bwMode="auto">
          <a:xfrm>
            <a:off x="263352" y="650045"/>
            <a:ext cx="7776542" cy="3895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 altLang="en-US" sz="2000" b="1" dirty="0">
                <a:solidFill>
                  <a:srgbClr val="C0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竞品地图</a:t>
            </a:r>
            <a:endParaRPr lang="zh-CN" altLang="en-US" sz="2000" b="1" dirty="0">
              <a:solidFill>
                <a:srgbClr val="C00000"/>
              </a:solidFill>
              <a:highlight>
                <a:srgbClr val="FFFF00"/>
              </a:highlight>
              <a:latin typeface="幼圆" panose="02010509060101010101" pitchFamily="49" charset="-122"/>
              <a:ea typeface="幼圆" panose="02010509060101010101" pitchFamily="49" charset="-122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9B61B675-76E1-83C5-B826-9E5F1A57FE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48" y="1858380"/>
            <a:ext cx="5811428" cy="499962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1055438" y="6429879"/>
            <a:ext cx="662597" cy="379245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84391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110" b="1" kern="0" dirty="0">
                <a:solidFill>
                  <a:sysClr val="window" lastClr="FFFFFF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本案</a:t>
            </a:r>
          </a:p>
        </p:txBody>
      </p:sp>
      <p:pic>
        <p:nvPicPr>
          <p:cNvPr id="5" name="Picture 19" descr="9">
            <a:extLst>
              <a:ext uri="{FF2B5EF4-FFF2-40B4-BE49-F238E27FC236}">
                <a16:creationId xmlns:a16="http://schemas.microsoft.com/office/drawing/2014/main" id="{3FE62F52-486B-4217-8224-611BC57FA0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12811" y="6224565"/>
            <a:ext cx="347853" cy="351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573B0E8D-AA42-4BAE-84FA-8EFC1570421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03860" y="2106785"/>
            <a:ext cx="6528844" cy="4613458"/>
          </a:xfrm>
          <a:prstGeom prst="rect">
            <a:avLst/>
          </a:prstGeom>
        </p:spPr>
      </p:pic>
      <p:sp>
        <p:nvSpPr>
          <p:cNvPr id="13" name="object 4">
            <a:extLst>
              <a:ext uri="{FF2B5EF4-FFF2-40B4-BE49-F238E27FC236}">
                <a16:creationId xmlns:a16="http://schemas.microsoft.com/office/drawing/2014/main" id="{531794C5-ADD7-E17A-7F32-D586A5EE789A}"/>
              </a:ext>
            </a:extLst>
          </p:cNvPr>
          <p:cNvSpPr txBox="1"/>
          <p:nvPr/>
        </p:nvSpPr>
        <p:spPr>
          <a:xfrm>
            <a:off x="263352" y="1050105"/>
            <a:ext cx="12025336" cy="7730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>
              <a:lnSpc>
                <a:spcPts val="3167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BQHHUJ+MicrosoftYaHei-Bold"/>
              </a:rPr>
              <a:t>万宁相对成熟的板块市神州半岛、石梅湾及兴隆，中海、华润、融创、碧桂园等名企开发，度假氛围浓厚。</a:t>
            </a:r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BQHHUJ+MicrosoftYaHei-Bold"/>
              </a:rPr>
              <a:t>项目用地位于日月湾与石梅湾之间，借势国家冲浪基地规划，链接三亚海棠湾、陵水清水湾，属核心湾区起步点，未来优势明显</a:t>
            </a:r>
            <a:endParaRPr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CILTE+MicrosoftYaHei-Bold"/>
            </a:endParaRPr>
          </a:p>
        </p:txBody>
      </p:sp>
    </p:spTree>
    <p:extLst>
      <p:ext uri="{BB962C8B-B14F-4D97-AF65-F5344CB8AC3E}">
        <p14:creationId xmlns:p14="http://schemas.microsoft.com/office/powerpoint/2010/main" val="28214489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1">
            <a:extLst>
              <a:ext uri="{FF2B5EF4-FFF2-40B4-BE49-F238E27FC236}">
                <a16:creationId xmlns:a16="http://schemas.microsoft.com/office/drawing/2014/main" id="{E4917F29-785D-B21C-1551-59DFA111DCC6}"/>
              </a:ext>
            </a:extLst>
          </p:cNvPr>
          <p:cNvSpPr/>
          <p:nvPr/>
        </p:nvSpPr>
        <p:spPr>
          <a:xfrm>
            <a:off x="0" y="1"/>
            <a:ext cx="12537066" cy="6857999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407368" y="663203"/>
            <a:ext cx="7776542" cy="3895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 altLang="en-US" sz="2000" b="1" dirty="0">
                <a:solidFill>
                  <a:srgbClr val="C0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方案指标</a:t>
            </a:r>
            <a:endParaRPr lang="zh-CN" altLang="en-US" sz="2000" b="1" dirty="0">
              <a:solidFill>
                <a:srgbClr val="C00000"/>
              </a:solidFill>
              <a:highlight>
                <a:srgbClr val="FFFF00"/>
              </a:highlight>
              <a:latin typeface="幼圆" panose="02010509060101010101" pitchFamily="49" charset="-122"/>
              <a:ea typeface="幼圆" panose="02010509060101010101" pitchFamily="49" charset="-122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3736315" y="2231350"/>
            <a:ext cx="8640961" cy="4601354"/>
            <a:chOff x="767407" y="1052736"/>
            <a:chExt cx="10657184" cy="5675002"/>
          </a:xfrm>
        </p:grpSpPr>
        <p:pic>
          <p:nvPicPr>
            <p:cNvPr id="3" name="图片 2"/>
            <p:cNvPicPr>
              <a:picLocks noChangeAspect="1"/>
            </p:cNvPicPr>
            <p:nvPr/>
          </p:nvPicPr>
          <p:blipFill rotWithShape="1">
            <a:blip r:embed="rId3"/>
            <a:srcRect b="1760"/>
            <a:stretch/>
          </p:blipFill>
          <p:spPr>
            <a:xfrm>
              <a:off x="767407" y="1268760"/>
              <a:ext cx="7340509" cy="5400600"/>
            </a:xfrm>
            <a:prstGeom prst="rect">
              <a:avLst/>
            </a:prstGeom>
          </p:spPr>
        </p:pic>
        <p:pic>
          <p:nvPicPr>
            <p:cNvPr id="4" name="图片 3"/>
            <p:cNvPicPr>
              <a:picLocks noChangeAspect="1"/>
            </p:cNvPicPr>
            <p:nvPr/>
          </p:nvPicPr>
          <p:blipFill rotWithShape="1">
            <a:blip r:embed="rId4"/>
            <a:srcRect l="60221"/>
            <a:stretch/>
          </p:blipFill>
          <p:spPr>
            <a:xfrm>
              <a:off x="8430268" y="1052736"/>
              <a:ext cx="2994323" cy="5675002"/>
            </a:xfrm>
            <a:prstGeom prst="rect">
              <a:avLst/>
            </a:prstGeom>
          </p:spPr>
        </p:pic>
        <p:grpSp>
          <p:nvGrpSpPr>
            <p:cNvPr id="5" name="组合 4"/>
            <p:cNvGrpSpPr/>
            <p:nvPr/>
          </p:nvGrpSpPr>
          <p:grpSpPr>
            <a:xfrm>
              <a:off x="911424" y="1776845"/>
              <a:ext cx="3715383" cy="4384429"/>
              <a:chOff x="904721" y="1636859"/>
              <a:chExt cx="3715383" cy="4384429"/>
            </a:xfrm>
          </p:grpSpPr>
          <p:sp>
            <p:nvSpPr>
              <p:cNvPr id="8" name="任意多边形 7"/>
              <p:cNvSpPr/>
              <p:nvPr/>
            </p:nvSpPr>
            <p:spPr>
              <a:xfrm>
                <a:off x="1227073" y="1636859"/>
                <a:ext cx="3393031" cy="3798491"/>
              </a:xfrm>
              <a:custGeom>
                <a:avLst/>
                <a:gdLst>
                  <a:gd name="connsiteX0" fmla="*/ 1828800 w 3747752"/>
                  <a:gd name="connsiteY0" fmla="*/ 4378817 h 4378817"/>
                  <a:gd name="connsiteX1" fmla="*/ 3503054 w 3747752"/>
                  <a:gd name="connsiteY1" fmla="*/ 2910626 h 4378817"/>
                  <a:gd name="connsiteX2" fmla="*/ 3232597 w 3747752"/>
                  <a:gd name="connsiteY2" fmla="*/ 2537138 h 4378817"/>
                  <a:gd name="connsiteX3" fmla="*/ 3747752 w 3747752"/>
                  <a:gd name="connsiteY3" fmla="*/ 1983347 h 4378817"/>
                  <a:gd name="connsiteX4" fmla="*/ 3322749 w 3747752"/>
                  <a:gd name="connsiteY4" fmla="*/ 1352282 h 4378817"/>
                  <a:gd name="connsiteX5" fmla="*/ 3000778 w 3747752"/>
                  <a:gd name="connsiteY5" fmla="*/ 1390919 h 4378817"/>
                  <a:gd name="connsiteX6" fmla="*/ 2962141 w 3747752"/>
                  <a:gd name="connsiteY6" fmla="*/ 656823 h 4378817"/>
                  <a:gd name="connsiteX7" fmla="*/ 3026535 w 3747752"/>
                  <a:gd name="connsiteY7" fmla="*/ 193183 h 4378817"/>
                  <a:gd name="connsiteX8" fmla="*/ 2678806 w 3747752"/>
                  <a:gd name="connsiteY8" fmla="*/ 12879 h 4378817"/>
                  <a:gd name="connsiteX9" fmla="*/ 2369713 w 3747752"/>
                  <a:gd name="connsiteY9" fmla="*/ 0 h 4378817"/>
                  <a:gd name="connsiteX10" fmla="*/ 1777285 w 3747752"/>
                  <a:gd name="connsiteY10" fmla="*/ 579550 h 4378817"/>
                  <a:gd name="connsiteX11" fmla="*/ 386366 w 3747752"/>
                  <a:gd name="connsiteY11" fmla="*/ 1880316 h 4378817"/>
                  <a:gd name="connsiteX12" fmla="*/ 734096 w 3747752"/>
                  <a:gd name="connsiteY12" fmla="*/ 2009104 h 4378817"/>
                  <a:gd name="connsiteX13" fmla="*/ 450761 w 3747752"/>
                  <a:gd name="connsiteY13" fmla="*/ 2833352 h 4378817"/>
                  <a:gd name="connsiteX14" fmla="*/ 77273 w 3747752"/>
                  <a:gd name="connsiteY14" fmla="*/ 3065172 h 4378817"/>
                  <a:gd name="connsiteX15" fmla="*/ 0 w 3747752"/>
                  <a:gd name="connsiteY15" fmla="*/ 3387144 h 4378817"/>
                  <a:gd name="connsiteX16" fmla="*/ 515155 w 3747752"/>
                  <a:gd name="connsiteY16" fmla="*/ 3786389 h 4378817"/>
                  <a:gd name="connsiteX17" fmla="*/ 1300766 w 3747752"/>
                  <a:gd name="connsiteY17" fmla="*/ 4031088 h 4378817"/>
                  <a:gd name="connsiteX18" fmla="*/ 1648496 w 3747752"/>
                  <a:gd name="connsiteY18" fmla="*/ 4056845 h 4378817"/>
                  <a:gd name="connsiteX19" fmla="*/ 1828800 w 3747752"/>
                  <a:gd name="connsiteY19" fmla="*/ 4378817 h 4378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747752" h="4378817">
                    <a:moveTo>
                      <a:pt x="1828800" y="4378817"/>
                    </a:moveTo>
                    <a:lnTo>
                      <a:pt x="3503054" y="2910626"/>
                    </a:lnTo>
                    <a:lnTo>
                      <a:pt x="3232597" y="2537138"/>
                    </a:lnTo>
                    <a:lnTo>
                      <a:pt x="3747752" y="1983347"/>
                    </a:lnTo>
                    <a:lnTo>
                      <a:pt x="3322749" y="1352282"/>
                    </a:lnTo>
                    <a:lnTo>
                      <a:pt x="3000778" y="1390919"/>
                    </a:lnTo>
                    <a:lnTo>
                      <a:pt x="2962141" y="656823"/>
                    </a:lnTo>
                    <a:lnTo>
                      <a:pt x="3026535" y="193183"/>
                    </a:lnTo>
                    <a:lnTo>
                      <a:pt x="2678806" y="12879"/>
                    </a:lnTo>
                    <a:lnTo>
                      <a:pt x="2369713" y="0"/>
                    </a:lnTo>
                    <a:lnTo>
                      <a:pt x="1777285" y="579550"/>
                    </a:lnTo>
                    <a:lnTo>
                      <a:pt x="386366" y="1880316"/>
                    </a:lnTo>
                    <a:lnTo>
                      <a:pt x="734096" y="2009104"/>
                    </a:lnTo>
                    <a:lnTo>
                      <a:pt x="450761" y="2833352"/>
                    </a:lnTo>
                    <a:lnTo>
                      <a:pt x="77273" y="3065172"/>
                    </a:lnTo>
                    <a:lnTo>
                      <a:pt x="0" y="3387144"/>
                    </a:lnTo>
                    <a:lnTo>
                      <a:pt x="515155" y="3786389"/>
                    </a:lnTo>
                    <a:lnTo>
                      <a:pt x="1300766" y="4031088"/>
                    </a:lnTo>
                    <a:lnTo>
                      <a:pt x="1648496" y="4056845"/>
                    </a:lnTo>
                    <a:lnTo>
                      <a:pt x="1828800" y="4378817"/>
                    </a:lnTo>
                    <a:close/>
                  </a:path>
                </a:pathLst>
              </a:custGeom>
              <a:solidFill>
                <a:srgbClr val="FF0000">
                  <a:alpha val="50000"/>
                </a:srgb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3200" b="1" dirty="0"/>
                  <a:t>计划一期</a:t>
                </a:r>
              </a:p>
            </p:txBody>
          </p:sp>
          <p:sp>
            <p:nvSpPr>
              <p:cNvPr id="10" name="任意多边形 9"/>
              <p:cNvSpPr/>
              <p:nvPr/>
            </p:nvSpPr>
            <p:spPr>
              <a:xfrm>
                <a:off x="904721" y="3212976"/>
                <a:ext cx="1966972" cy="2808312"/>
              </a:xfrm>
              <a:custGeom>
                <a:avLst/>
                <a:gdLst>
                  <a:gd name="connsiteX0" fmla="*/ 798285 w 2264228"/>
                  <a:gd name="connsiteY0" fmla="*/ 0 h 3077029"/>
                  <a:gd name="connsiteX1" fmla="*/ 1161143 w 2264228"/>
                  <a:gd name="connsiteY1" fmla="*/ 101600 h 3077029"/>
                  <a:gd name="connsiteX2" fmla="*/ 841828 w 2264228"/>
                  <a:gd name="connsiteY2" fmla="*/ 943429 h 3077029"/>
                  <a:gd name="connsiteX3" fmla="*/ 478971 w 2264228"/>
                  <a:gd name="connsiteY3" fmla="*/ 1175658 h 3077029"/>
                  <a:gd name="connsiteX4" fmla="*/ 406400 w 2264228"/>
                  <a:gd name="connsiteY4" fmla="*/ 1465943 h 3077029"/>
                  <a:gd name="connsiteX5" fmla="*/ 856343 w 2264228"/>
                  <a:gd name="connsiteY5" fmla="*/ 1915886 h 3077029"/>
                  <a:gd name="connsiteX6" fmla="*/ 1756228 w 2264228"/>
                  <a:gd name="connsiteY6" fmla="*/ 2104572 h 3077029"/>
                  <a:gd name="connsiteX7" fmla="*/ 2061028 w 2264228"/>
                  <a:gd name="connsiteY7" fmla="*/ 2104572 h 3077029"/>
                  <a:gd name="connsiteX8" fmla="*/ 2264228 w 2264228"/>
                  <a:gd name="connsiteY8" fmla="*/ 2481943 h 3077029"/>
                  <a:gd name="connsiteX9" fmla="*/ 1611085 w 2264228"/>
                  <a:gd name="connsiteY9" fmla="*/ 3077029 h 3077029"/>
                  <a:gd name="connsiteX10" fmla="*/ 1161143 w 2264228"/>
                  <a:gd name="connsiteY10" fmla="*/ 2656115 h 3077029"/>
                  <a:gd name="connsiteX11" fmla="*/ 856343 w 2264228"/>
                  <a:gd name="connsiteY11" fmla="*/ 2989943 h 3077029"/>
                  <a:gd name="connsiteX12" fmla="*/ 653143 w 2264228"/>
                  <a:gd name="connsiteY12" fmla="*/ 2743200 h 3077029"/>
                  <a:gd name="connsiteX13" fmla="*/ 812800 w 2264228"/>
                  <a:gd name="connsiteY13" fmla="*/ 2191658 h 3077029"/>
                  <a:gd name="connsiteX14" fmla="*/ 0 w 2264228"/>
                  <a:gd name="connsiteY14" fmla="*/ 841829 h 3077029"/>
                  <a:gd name="connsiteX15" fmla="*/ 856343 w 2264228"/>
                  <a:gd name="connsiteY15" fmla="*/ 0 h 3077029"/>
                  <a:gd name="connsiteX16" fmla="*/ 1132114 w 2264228"/>
                  <a:gd name="connsiteY16" fmla="*/ 116115 h 3077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264228" h="3077029">
                    <a:moveTo>
                      <a:pt x="798285" y="0"/>
                    </a:moveTo>
                    <a:lnTo>
                      <a:pt x="1161143" y="101600"/>
                    </a:lnTo>
                    <a:lnTo>
                      <a:pt x="841828" y="943429"/>
                    </a:lnTo>
                    <a:lnTo>
                      <a:pt x="478971" y="1175658"/>
                    </a:lnTo>
                    <a:lnTo>
                      <a:pt x="406400" y="1465943"/>
                    </a:lnTo>
                    <a:lnTo>
                      <a:pt x="856343" y="1915886"/>
                    </a:lnTo>
                    <a:lnTo>
                      <a:pt x="1756228" y="2104572"/>
                    </a:lnTo>
                    <a:lnTo>
                      <a:pt x="2061028" y="2104572"/>
                    </a:lnTo>
                    <a:lnTo>
                      <a:pt x="2264228" y="2481943"/>
                    </a:lnTo>
                    <a:lnTo>
                      <a:pt x="1611085" y="3077029"/>
                    </a:lnTo>
                    <a:lnTo>
                      <a:pt x="1161143" y="2656115"/>
                    </a:lnTo>
                    <a:lnTo>
                      <a:pt x="856343" y="2989943"/>
                    </a:lnTo>
                    <a:lnTo>
                      <a:pt x="653143" y="2743200"/>
                    </a:lnTo>
                    <a:lnTo>
                      <a:pt x="812800" y="2191658"/>
                    </a:lnTo>
                    <a:lnTo>
                      <a:pt x="0" y="841829"/>
                    </a:lnTo>
                    <a:lnTo>
                      <a:pt x="856343" y="0"/>
                    </a:lnTo>
                    <a:lnTo>
                      <a:pt x="1132114" y="116115"/>
                    </a:lnTo>
                  </a:path>
                </a:pathLst>
              </a:custGeom>
              <a:solidFill>
                <a:srgbClr val="FFFF00">
                  <a:alpha val="50000"/>
                </a:srgb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altLang="zh-CN" dirty="0"/>
              </a:p>
              <a:p>
                <a:endParaRPr lang="en-US" altLang="zh-CN" dirty="0"/>
              </a:p>
              <a:p>
                <a:endParaRPr lang="en-US" altLang="zh-CN" dirty="0"/>
              </a:p>
              <a:p>
                <a:endParaRPr lang="en-US" altLang="zh-CN" dirty="0"/>
              </a:p>
              <a:p>
                <a:endParaRPr lang="en-US" altLang="zh-CN" dirty="0"/>
              </a:p>
              <a:p>
                <a:r>
                  <a:rPr lang="en-US" altLang="zh-CN" sz="2800" b="1" dirty="0"/>
                  <a:t>       </a:t>
                </a:r>
                <a:r>
                  <a:rPr lang="zh-CN" altLang="en-US" sz="1600" b="1" dirty="0">
                    <a:solidFill>
                      <a:schemeClr val="tx1"/>
                    </a:solidFill>
                  </a:rPr>
                  <a:t>计划二期</a:t>
                </a:r>
                <a:r>
                  <a:rPr lang="zh-CN" altLang="en-US" sz="1600" b="1" dirty="0"/>
                  <a:t>                </a:t>
                </a:r>
                <a:endParaRPr lang="en-US" altLang="zh-CN" sz="1600" b="1" dirty="0"/>
              </a:p>
              <a:p>
                <a:pPr algn="ctr"/>
                <a:endParaRPr lang="zh-CN" altLang="en-US" dirty="0"/>
              </a:p>
            </p:txBody>
          </p:sp>
        </p:grpSp>
      </p:grpSp>
      <p:sp>
        <p:nvSpPr>
          <p:cNvPr id="11" name="Rectangle 73">
            <a:extLst>
              <a:ext uri="{FF2B5EF4-FFF2-40B4-BE49-F238E27FC236}">
                <a16:creationId xmlns:a16="http://schemas.microsoft.com/office/drawing/2014/main" id="{A7E4BBB0-3109-1948-A2E5-03166BABB9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512" y="1052736"/>
            <a:ext cx="11944974" cy="128990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rgbClr val="FF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项目总用地面积</a:t>
            </a:r>
            <a:r>
              <a:rPr lang="en-US" altLang="zh-CN" b="1" dirty="0">
                <a:solidFill>
                  <a:srgbClr val="FF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189096.48</a:t>
            </a:r>
            <a:r>
              <a:rPr lang="zh-CN" altLang="en-US" b="1" dirty="0">
                <a:solidFill>
                  <a:srgbClr val="FF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㎡（约</a:t>
            </a:r>
            <a:r>
              <a:rPr lang="en-US" altLang="zh-CN" b="1" dirty="0">
                <a:solidFill>
                  <a:srgbClr val="FF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283.6</a:t>
            </a:r>
            <a:r>
              <a:rPr lang="zh-CN" altLang="en-US" b="1" dirty="0">
                <a:solidFill>
                  <a:srgbClr val="FF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亩），</a:t>
            </a:r>
            <a:r>
              <a:rPr lang="zh-CN" altLang="en-US" b="1" dirty="0">
                <a:latin typeface="幼圆" panose="02010509060101010101" pitchFamily="49" charset="-122"/>
                <a:ea typeface="幼圆" panose="02010509060101010101" pitchFamily="49" charset="-122"/>
              </a:rPr>
              <a:t>一期</a:t>
            </a:r>
            <a:r>
              <a:rPr lang="en-US" altLang="zh-CN" b="1" dirty="0">
                <a:solidFill>
                  <a:srgbClr val="00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148034.62</a:t>
            </a:r>
            <a:r>
              <a:rPr lang="zh-CN" altLang="en-US" b="1" dirty="0">
                <a:solidFill>
                  <a:srgbClr val="00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㎡（约</a:t>
            </a:r>
            <a:r>
              <a:rPr lang="en-US" altLang="zh-CN" b="1" dirty="0">
                <a:solidFill>
                  <a:srgbClr val="00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222.1</a:t>
            </a:r>
            <a:r>
              <a:rPr lang="zh-CN" altLang="en-US" b="1" dirty="0">
                <a:solidFill>
                  <a:srgbClr val="00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亩），二期</a:t>
            </a:r>
            <a:r>
              <a:rPr lang="en-US" altLang="zh-CN" b="1" dirty="0">
                <a:solidFill>
                  <a:srgbClr val="00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41061.86</a:t>
            </a:r>
            <a:r>
              <a:rPr lang="zh-CN" altLang="en-US" b="1" dirty="0">
                <a:solidFill>
                  <a:srgbClr val="00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㎡（约</a:t>
            </a:r>
            <a:r>
              <a:rPr lang="en-US" altLang="zh-CN" b="1" dirty="0">
                <a:solidFill>
                  <a:srgbClr val="00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61.6</a:t>
            </a:r>
            <a:r>
              <a:rPr lang="zh-CN" altLang="en-US" b="1" dirty="0">
                <a:solidFill>
                  <a:srgbClr val="00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亩），为</a:t>
            </a:r>
            <a:r>
              <a:rPr lang="zh-CN" altLang="en-US" b="1" dirty="0">
                <a:latin typeface="幼圆" panose="02010509060101010101" pitchFamily="49" charset="-122"/>
                <a:ea typeface="幼圆" panose="02010509060101010101" pitchFamily="49" charset="-122"/>
              </a:rPr>
              <a:t>酒店旅馆用地，均未动工。三证齐全，无债务纠纷，近期拟办施工许可证。（业主原计划一期未散售型产权式公寓、二期为经营性酒店，视我司研判，可全部设计为散售型物业）。</a:t>
            </a:r>
            <a:endParaRPr lang="en-US" altLang="zh-CN" b="1" dirty="0">
              <a:latin typeface="幼圆" panose="02010509060101010101" pitchFamily="49" charset="-122"/>
              <a:ea typeface="幼圆" panose="02010509060101010101" pitchFamily="49" charset="-122"/>
            </a:endParaRPr>
          </a:p>
        </p:txBody>
      </p:sp>
      <p:graphicFrame>
        <p:nvGraphicFramePr>
          <p:cNvPr id="9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4837036"/>
              </p:ext>
            </p:extLst>
          </p:nvPr>
        </p:nvGraphicFramePr>
        <p:xfrm>
          <a:off x="263352" y="2430110"/>
          <a:ext cx="3502532" cy="435525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756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99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088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90803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u="none" strike="noStrike" dirty="0">
                          <a:effectLst/>
                        </a:rPr>
                        <a:t>宗地名称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一期</a:t>
                      </a:r>
                    </a:p>
                  </a:txBody>
                  <a:tcPr marL="8179" marR="8179" marT="817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二期</a:t>
                      </a:r>
                    </a:p>
                  </a:txBody>
                  <a:tcPr marL="8179" marR="8179" marT="8179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合计</a:t>
                      </a:r>
                      <a:endParaRPr lang="zh-CN" altLang="en-US" sz="1200" b="1" i="0" u="none" strike="noStrike" dirty="0">
                        <a:solidFill>
                          <a:srgbClr val="FF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3577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u="none" strike="noStrike">
                          <a:effectLst/>
                        </a:rPr>
                        <a:t>土地用途</a:t>
                      </a:r>
                      <a:endParaRPr lang="zh-CN" altLang="en-US" sz="1200" b="1" i="0" u="none" strike="noStrike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u="none" strike="noStrike">
                          <a:effectLst/>
                        </a:rPr>
                        <a:t>酒店旅馆用地</a:t>
                      </a:r>
                      <a:endParaRPr lang="zh-CN" altLang="en-US" sz="1200" b="1" i="0" u="none" strike="noStrike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u="none" strike="noStrike" dirty="0">
                          <a:effectLst/>
                        </a:rPr>
                        <a:t>酒店旅馆用地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3577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u="none" strike="noStrike" dirty="0">
                          <a:effectLst/>
                        </a:rPr>
                        <a:t>净用地面积</a:t>
                      </a:r>
                      <a:endParaRPr lang="en-US" altLang="zh-CN" sz="1200" b="1" u="none" strike="noStrike" dirty="0">
                        <a:effectLst/>
                      </a:endParaRPr>
                    </a:p>
                    <a:p>
                      <a:pPr algn="ctr" rtl="0" fontAlgn="ctr"/>
                      <a:r>
                        <a:rPr lang="zh-CN" altLang="en-US" sz="1200" b="1" u="none" strike="noStrike" dirty="0">
                          <a:effectLst/>
                        </a:rPr>
                        <a:t>（㎡）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148034.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41061.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189096.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3577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u="none" strike="noStrike" dirty="0">
                          <a:effectLst/>
                        </a:rPr>
                        <a:t>净用地面积</a:t>
                      </a:r>
                      <a:endParaRPr lang="en-US" altLang="zh-CN" sz="1200" b="1" u="none" strike="noStrike" dirty="0">
                        <a:effectLst/>
                      </a:endParaRPr>
                    </a:p>
                    <a:p>
                      <a:pPr algn="ctr" rtl="0" fontAlgn="ctr"/>
                      <a:r>
                        <a:rPr lang="zh-CN" altLang="en-US" sz="1200" b="1" u="none" strike="noStrike" dirty="0">
                          <a:effectLst/>
                        </a:rPr>
                        <a:t>（亩）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222.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61.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283.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3577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u="none" strike="noStrike" dirty="0">
                          <a:effectLst/>
                        </a:rPr>
                        <a:t>容积率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0.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0.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0.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3577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u="none" strike="noStrike" dirty="0">
                          <a:effectLst/>
                        </a:rPr>
                        <a:t>计容建面</a:t>
                      </a:r>
                      <a:endParaRPr lang="en-US" altLang="zh-CN" sz="1200" b="1" u="none" strike="noStrike" dirty="0">
                        <a:effectLst/>
                      </a:endParaRPr>
                    </a:p>
                    <a:p>
                      <a:pPr algn="ctr" rtl="0" fontAlgn="ctr"/>
                      <a:r>
                        <a:rPr lang="zh-CN" altLang="en-US" sz="1200" b="1" u="none" strike="noStrike" dirty="0">
                          <a:effectLst/>
                        </a:rPr>
                        <a:t>（㎡）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88820.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24637.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幼圆" panose="02010509060101010101" pitchFamily="49" charset="-122"/>
                          <a:ea typeface="幼圆" panose="02010509060101010101" pitchFamily="49" charset="-122"/>
                        </a:rPr>
                        <a:t>113457.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357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u="none" strike="noStrike" dirty="0">
                          <a:effectLst/>
                        </a:rPr>
                        <a:t>亩单价</a:t>
                      </a:r>
                      <a:endParaRPr lang="en-US" altLang="zh-CN" sz="1200" b="1" u="none" strike="noStrike" dirty="0">
                        <a:effectLst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u="none" strike="noStrike" dirty="0">
                          <a:effectLst/>
                        </a:rPr>
                        <a:t>（万元）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u="none" strike="noStrike" dirty="0">
                          <a:effectLst/>
                        </a:rPr>
                        <a:t>150</a:t>
                      </a:r>
                      <a:endParaRPr lang="en-US" altLang="zh-CN" sz="12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u="none" strike="noStrike" dirty="0">
                          <a:effectLst/>
                        </a:rPr>
                        <a:t>150</a:t>
                      </a:r>
                      <a:endParaRPr lang="en-US" altLang="zh-CN" sz="12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150</a:t>
                      </a:r>
                      <a:endParaRPr lang="en-US" altLang="zh-CN" sz="1200" b="1" i="0" u="none" strike="noStrike" dirty="0">
                        <a:solidFill>
                          <a:srgbClr val="FF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357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u="none" strike="noStrike" dirty="0">
                          <a:effectLst/>
                        </a:rPr>
                        <a:t>楼板价</a:t>
                      </a:r>
                      <a:endParaRPr lang="en-US" altLang="zh-CN" sz="1200" b="1" u="none" strike="noStrike" dirty="0">
                        <a:effectLst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u="none" strike="noStrike" dirty="0">
                          <a:effectLst/>
                        </a:rPr>
                        <a:t>（元</a:t>
                      </a:r>
                      <a:r>
                        <a:rPr lang="en-US" altLang="zh-CN" sz="1200" b="1" u="none" strike="noStrike" dirty="0">
                          <a:effectLst/>
                        </a:rPr>
                        <a:t>/㎡</a:t>
                      </a:r>
                      <a:r>
                        <a:rPr lang="zh-CN" altLang="en-US" sz="1200" b="1" u="none" strike="noStrike" dirty="0">
                          <a:effectLst/>
                        </a:rPr>
                        <a:t>）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u="none" strike="noStrike" dirty="0">
                          <a:effectLst/>
                        </a:rPr>
                        <a:t>3751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u="none" strike="noStrike" dirty="0">
                          <a:effectLst/>
                        </a:rPr>
                        <a:t>375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3749</a:t>
                      </a:r>
                      <a:endParaRPr lang="en-US" altLang="zh-CN" sz="1200" b="1" i="0" u="none" strike="noStrike" dirty="0">
                        <a:solidFill>
                          <a:srgbClr val="FF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4357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u="none" strike="noStrike" dirty="0">
                          <a:effectLst/>
                        </a:rPr>
                        <a:t>地价</a:t>
                      </a:r>
                      <a:endParaRPr lang="en-US" altLang="zh-CN" sz="1200" b="1" u="none" strike="noStrike" dirty="0">
                        <a:effectLst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u="none" strike="noStrike" dirty="0">
                          <a:effectLst/>
                        </a:rPr>
                        <a:t>（万元）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u="none" strike="noStrike">
                          <a:effectLst/>
                        </a:rPr>
                        <a:t>33315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u="none" strike="noStrike" dirty="0">
                          <a:effectLst/>
                        </a:rPr>
                        <a:t>924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42555</a:t>
                      </a:r>
                      <a:endParaRPr lang="en-US" altLang="zh-CN" sz="1200" b="1" i="0" u="none" strike="noStrike" dirty="0">
                        <a:solidFill>
                          <a:srgbClr val="FF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5839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u="none" strike="noStrike" dirty="0">
                          <a:effectLst/>
                        </a:rPr>
                        <a:t>备注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u="none" strike="noStrike">
                          <a:effectLst/>
                        </a:rPr>
                        <a:t>-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u="none" strike="noStrike" dirty="0">
                          <a:effectLst/>
                        </a:rPr>
                        <a:t>-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en-US" altLang="zh-CN" sz="1200" b="1" i="0" u="none" strike="noStrike" dirty="0">
                        <a:solidFill>
                          <a:srgbClr val="FF0000"/>
                        </a:solidFill>
                        <a:effectLst/>
                        <a:latin typeface="幼圆" panose="02010509060101010101" pitchFamily="49" charset="-122"/>
                        <a:ea typeface="幼圆" panose="02010509060101010101" pitchFamily="49" charset="-122"/>
                      </a:endParaRPr>
                    </a:p>
                  </a:txBody>
                  <a:tcPr marL="8179" marR="8179" marT="8179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96497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1">
            <a:extLst>
              <a:ext uri="{FF2B5EF4-FFF2-40B4-BE49-F238E27FC236}">
                <a16:creationId xmlns:a16="http://schemas.microsoft.com/office/drawing/2014/main" id="{92501F27-982A-467C-F713-A4B9318D85BA}"/>
              </a:ext>
            </a:extLst>
          </p:cNvPr>
          <p:cNvSpPr/>
          <p:nvPr/>
        </p:nvSpPr>
        <p:spPr>
          <a:xfrm>
            <a:off x="0" y="1"/>
            <a:ext cx="12537066" cy="6857999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471889" y="548680"/>
            <a:ext cx="7776542" cy="40729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 altLang="en-US" sz="2000" b="1" dirty="0">
                <a:solidFill>
                  <a:srgbClr val="C00000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初步沟通</a:t>
            </a:r>
            <a:endParaRPr lang="zh-CN" altLang="en-US" sz="2000" b="1" dirty="0">
              <a:solidFill>
                <a:srgbClr val="C00000"/>
              </a:solidFill>
              <a:highlight>
                <a:srgbClr val="FFFF00"/>
              </a:highlight>
              <a:latin typeface="幼圆" panose="02010509060101010101" pitchFamily="49" charset="-122"/>
              <a:ea typeface="幼圆" panose="02010509060101010101" pitchFamily="49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471889" y="1340768"/>
            <a:ext cx="11593288" cy="48501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方式：可融资代建，纯代建，收并购</a:t>
            </a:r>
            <a:endParaRPr lang="en-US" altLang="zh-CN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、融资代建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资金需求要保证一期预计销售的货值满足施工方付款；担保方式，建议股权质押担保；还款来源建议销售回款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、代建：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我司提供回款计划；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、收购：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满足业主方这几年资金成本后，双方就利润测算共同商议，由我司提出收购方式和价格；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现状情况：</a:t>
            </a:r>
            <a:endParaRPr lang="en-US" altLang="zh-CN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、项目现状为净地；无债务纠纷；设计方案确定后即可颁发施工证；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、土地已摘地；土地款已全额付清。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售条件：</a:t>
            </a:r>
            <a:endParaRPr lang="en-US" altLang="zh-CN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、原则是封顶颁发预售许可证，与政府沟通后，可协调优惠政策办理，具体越证办理事宜待沟通；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、该物业可散售，政府无产业要求：较于常规住宅类销售更有优势（无限购政策，宽松）；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车位解决：车位可全地上解决，不做地下室</a:t>
            </a:r>
          </a:p>
        </p:txBody>
      </p:sp>
    </p:spTree>
    <p:extLst>
      <p:ext uri="{BB962C8B-B14F-4D97-AF65-F5344CB8AC3E}">
        <p14:creationId xmlns:p14="http://schemas.microsoft.com/office/powerpoint/2010/main" val="17155849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OPIC_ID" val="2869567"/>
  <p:tag name="KSO_WM_TEMPLATE_OUTLINE_ID" val="14"/>
  <p:tag name="KSO_WM_TEMPLATE_SCENE_ID" val="1"/>
  <p:tag name="KSO_WM_TEMPLATE_JOB_ID" val="14"/>
  <p:tag name="KSO_WM_TEMPLATE_TOPIC_DEFAULT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taQGRF1k6KVRbgcUb2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taQGRF1k6KVRbgcUb2gQ"/>
</p:tagLst>
</file>

<file path=ppt/theme/theme1.xml><?xml version="1.0" encoding="utf-8"?>
<a:theme xmlns:a="http://schemas.openxmlformats.org/drawingml/2006/main" name="2_Office 主题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Office 主题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Office 主题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00000"/>
        </a:solidFill>
        <a:ln w="28575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7_Office 主题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412</TotalTime>
  <Words>2096</Words>
  <Application>Microsoft Office PowerPoint</Application>
  <PresentationFormat>宽屏</PresentationFormat>
  <Paragraphs>575</Paragraphs>
  <Slides>12</Slides>
  <Notes>3</Notes>
  <HiddenSlides>0</HiddenSlides>
  <MMClips>0</MMClips>
  <ScaleCrop>false</ScaleCrop>
  <HeadingPairs>
    <vt:vector size="6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4</vt:i4>
      </vt:variant>
      <vt:variant>
        <vt:lpstr>幻灯片标题</vt:lpstr>
      </vt:variant>
      <vt:variant>
        <vt:i4>12</vt:i4>
      </vt:variant>
    </vt:vector>
  </HeadingPairs>
  <TitlesOfParts>
    <vt:vector size="28" baseType="lpstr">
      <vt:lpstr>GAHJVS+Tw Cen MT Condensed Extra Bold</vt:lpstr>
      <vt:lpstr>IVJVJH+MicrosoftYaHei-Bold</vt:lpstr>
      <vt:lpstr>Microsoft YaHei Light</vt:lpstr>
      <vt:lpstr>VWCDEG+Tw Cen MT Condensed Extra Bold</vt:lpstr>
      <vt:lpstr>宋体</vt:lpstr>
      <vt:lpstr>微软雅黑</vt:lpstr>
      <vt:lpstr>微软雅黑</vt:lpstr>
      <vt:lpstr>幼圆</vt:lpstr>
      <vt:lpstr>Arial</vt:lpstr>
      <vt:lpstr>Calibri</vt:lpstr>
      <vt:lpstr>Calibri Light</vt:lpstr>
      <vt:lpstr>Times New Roman</vt:lpstr>
      <vt:lpstr>2_Office 主题</vt:lpstr>
      <vt:lpstr>5_Office 主题</vt:lpstr>
      <vt:lpstr>6_Office 主题</vt:lpstr>
      <vt:lpstr>7_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Administrator</dc:creator>
  <cp:lastModifiedBy>徐 振钧</cp:lastModifiedBy>
  <cp:revision>7412</cp:revision>
  <cp:lastPrinted>2020-07-22T00:46:37Z</cp:lastPrinted>
  <dcterms:created xsi:type="dcterms:W3CDTF">2013-06-20T19:56:00Z</dcterms:created>
  <dcterms:modified xsi:type="dcterms:W3CDTF">2022-12-19T16:0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260</vt:lpwstr>
  </property>
</Properties>
</file>